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4"/>
  </p:sldMasterIdLst>
  <p:notesMasterIdLst>
    <p:notesMasterId r:id="rId6"/>
  </p:notesMasterIdLst>
  <p:sldIdLst>
    <p:sldId id="639" r:id="rId5"/>
  </p:sldIdLst>
  <p:sldSz cx="9144000" cy="6858000" type="screen4x3"/>
  <p:notesSz cx="7010400" cy="9296400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Century Gothic" panose="020B050202020202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0" userDrawn="1">
          <p15:clr>
            <a:srgbClr val="A4A3A4"/>
          </p15:clr>
        </p15:guide>
        <p15:guide id="2" pos="3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BA7B46-7C96-415B-AF78-5B7F6ABFFBFB}" v="2" dt="2020-06-17T19:18:01.0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79" autoAdjust="0"/>
    <p:restoredTop sz="96370" autoAdjust="0"/>
  </p:normalViewPr>
  <p:slideViewPr>
    <p:cSldViewPr snapToGrid="0" snapToObjects="1">
      <p:cViewPr varScale="1">
        <p:scale>
          <a:sx n="126" d="100"/>
          <a:sy n="126" d="100"/>
        </p:scale>
        <p:origin x="1212" y="132"/>
      </p:cViewPr>
      <p:guideLst>
        <p:guide orient="horz" pos="3960"/>
        <p:guide pos="31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font" Target="fonts/font4.fntdata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3.fntdata"/><Relationship Id="rId14" Type="http://schemas.openxmlformats.org/officeDocument/2006/relationships/font" Target="fonts/font8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Goldstein" userId="4773412ca90885f5" providerId="OrgId" clId="{BC42FF71-A007-48E7-B829-F3511F2DB7D6}"/>
    <pc:docChg chg="custSel delSld modSld">
      <pc:chgData name="David Goldstein" userId="4773412ca90885f5" providerId="OrgId" clId="{BC42FF71-A007-48E7-B829-F3511F2DB7D6}" dt="2020-06-17T19:17:28.554" v="82" actId="20577"/>
      <pc:docMkLst>
        <pc:docMk/>
      </pc:docMkLst>
      <pc:sldChg chg="del">
        <pc:chgData name="David Goldstein" userId="4773412ca90885f5" providerId="OrgId" clId="{BC42FF71-A007-48E7-B829-F3511F2DB7D6}" dt="2020-06-17T19:14:40.087" v="22" actId="2696"/>
        <pc:sldMkLst>
          <pc:docMk/>
          <pc:sldMk cId="2162127658" sldId="638"/>
        </pc:sldMkLst>
      </pc:sldChg>
      <pc:sldChg chg="modSp">
        <pc:chgData name="David Goldstein" userId="4773412ca90885f5" providerId="OrgId" clId="{BC42FF71-A007-48E7-B829-F3511F2DB7D6}" dt="2020-06-17T19:17:28.554" v="82" actId="20577"/>
        <pc:sldMkLst>
          <pc:docMk/>
          <pc:sldMk cId="812709207" sldId="639"/>
        </pc:sldMkLst>
        <pc:spChg chg="mod">
          <ac:chgData name="David Goldstein" userId="4773412ca90885f5" providerId="OrgId" clId="{BC42FF71-A007-48E7-B829-F3511F2DB7D6}" dt="2020-06-17T19:13:43.883" v="21" actId="27636"/>
          <ac:spMkLst>
            <pc:docMk/>
            <pc:sldMk cId="812709207" sldId="639"/>
            <ac:spMk id="4" creationId="{AB6F9246-C2BD-4EDB-AE17-C932090907FB}"/>
          </ac:spMkLst>
        </pc:spChg>
        <pc:spChg chg="mod">
          <ac:chgData name="David Goldstein" userId="4773412ca90885f5" providerId="OrgId" clId="{BC42FF71-A007-48E7-B829-F3511F2DB7D6}" dt="2020-06-17T19:17:28.554" v="82" actId="20577"/>
          <ac:spMkLst>
            <pc:docMk/>
            <pc:sldMk cId="812709207" sldId="639"/>
            <ac:spMk id="10" creationId="{FAB77476-556C-4CD0-A288-CF5E4597F08A}"/>
          </ac:spMkLst>
        </pc:spChg>
        <pc:spChg chg="mod ord">
          <ac:chgData name="David Goldstein" userId="4773412ca90885f5" providerId="OrgId" clId="{BC42FF71-A007-48E7-B829-F3511F2DB7D6}" dt="2020-06-17T19:14:56.105" v="25" actId="167"/>
          <ac:spMkLst>
            <pc:docMk/>
            <pc:sldMk cId="812709207" sldId="639"/>
            <ac:spMk id="12" creationId="{2D4E31B7-CCF1-4E27-95B2-28A7301253CC}"/>
          </ac:spMkLst>
        </pc:spChg>
      </pc:sldChg>
      <pc:sldChg chg="del">
        <pc:chgData name="David Goldstein" userId="4773412ca90885f5" providerId="OrgId" clId="{BC42FF71-A007-48E7-B829-F3511F2DB7D6}" dt="2020-06-17T19:14:43.490" v="23" actId="2696"/>
        <pc:sldMkLst>
          <pc:docMk/>
          <pc:sldMk cId="707845280" sldId="640"/>
        </pc:sldMkLst>
      </pc:sldChg>
    </pc:docChg>
  </pc:docChgLst>
  <pc:docChgLst>
    <pc:chgData name="David Goldstein" userId="4773412ca90885f5" providerId="OrgId" clId="{20BA7B46-7C96-415B-AF78-5B7F6ABFFBFB}"/>
    <pc:docChg chg="undo custSel modSld">
      <pc:chgData name="David Goldstein" userId="4773412ca90885f5" providerId="OrgId" clId="{20BA7B46-7C96-415B-AF78-5B7F6ABFFBFB}" dt="2020-06-17T20:55:51.270" v="80" actId="20577"/>
      <pc:docMkLst>
        <pc:docMk/>
      </pc:docMkLst>
      <pc:sldChg chg="modSp">
        <pc:chgData name="David Goldstein" userId="4773412ca90885f5" providerId="OrgId" clId="{20BA7B46-7C96-415B-AF78-5B7F6ABFFBFB}" dt="2020-06-17T20:55:51.270" v="80" actId="20577"/>
        <pc:sldMkLst>
          <pc:docMk/>
          <pc:sldMk cId="812709207" sldId="639"/>
        </pc:sldMkLst>
        <pc:spChg chg="mod">
          <ac:chgData name="David Goldstein" userId="4773412ca90885f5" providerId="OrgId" clId="{20BA7B46-7C96-415B-AF78-5B7F6ABFFBFB}" dt="2020-06-17T20:45:09.215" v="42" actId="20577"/>
          <ac:spMkLst>
            <pc:docMk/>
            <pc:sldMk cId="812709207" sldId="639"/>
            <ac:spMk id="4" creationId="{AB6F9246-C2BD-4EDB-AE17-C932090907FB}"/>
          </ac:spMkLst>
        </pc:spChg>
        <pc:spChg chg="mod">
          <ac:chgData name="David Goldstein" userId="4773412ca90885f5" providerId="OrgId" clId="{20BA7B46-7C96-415B-AF78-5B7F6ABFFBFB}" dt="2020-06-17T20:48:05.510" v="67" actId="554"/>
          <ac:spMkLst>
            <pc:docMk/>
            <pc:sldMk cId="812709207" sldId="639"/>
            <ac:spMk id="7" creationId="{723F13EC-AF11-4F1C-9109-874F408AA876}"/>
          </ac:spMkLst>
        </pc:spChg>
        <pc:spChg chg="mod">
          <ac:chgData name="David Goldstein" userId="4773412ca90885f5" providerId="OrgId" clId="{20BA7B46-7C96-415B-AF78-5B7F6ABFFBFB}" dt="2020-06-17T20:55:51.270" v="80" actId="20577"/>
          <ac:spMkLst>
            <pc:docMk/>
            <pc:sldMk cId="812709207" sldId="639"/>
            <ac:spMk id="10" creationId="{FAB77476-556C-4CD0-A288-CF5E4597F08A}"/>
          </ac:spMkLst>
        </pc:spChg>
        <pc:spChg chg="mod">
          <ac:chgData name="David Goldstein" userId="4773412ca90885f5" providerId="OrgId" clId="{20BA7B46-7C96-415B-AF78-5B7F6ABFFBFB}" dt="2020-06-17T20:48:05.510" v="67" actId="554"/>
          <ac:spMkLst>
            <pc:docMk/>
            <pc:sldMk cId="812709207" sldId="639"/>
            <ac:spMk id="12" creationId="{2D4E31B7-CCF1-4E27-95B2-28A7301253CC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8627A6-089C-4457-9DA5-1BF9C860F4D9}" type="datetimeFigureOut">
              <a:rPr lang="en-US" smtClean="0"/>
              <a:t>6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4E2E99-8E67-4C2A-BA9C-90115A9C85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05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9924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78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115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defTabSz="914400"/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 defTabSz="914400"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7" name="Picture 3" descr="6C5092EE">
            <a:extLst>
              <a:ext uri="{FF2B5EF4-FFF2-40B4-BE49-F238E27FC236}">
                <a16:creationId xmlns:a16="http://schemas.microsoft.com/office/drawing/2014/main" id="{9694258C-0843-453C-8669-36BAD6A110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530" y="128016"/>
            <a:ext cx="1630070" cy="581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85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www.mekkographics.com/racial-wealth-gap-in-the-us/" TargetMode="Externa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hyperlink" Target="https://www.clevelandfed.org/newsroom-and-events/publications/economic-commentary/2019-economic-commentaries/ec-201903-what-is-behind-the-persistence-of-the-racial-wealth-gap.aspx" TargetMode="External"/><Relationship Id="rId5" Type="http://schemas.openxmlformats.org/officeDocument/2006/relationships/hyperlink" Target="https://www.federalreserve.gov/econres/notes/feds-notes/recent-trends-in-wealth-holding-by-race-and-ethnicity-evidence-from-the-survey-of-consumer-finances-20170927.htm" TargetMode="Externa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yQVjyokM7xlm8PFv6NJ3Ll+Pd0t1RM1iWRMiTsCLr+UhIBvjywlwAple2qtJvWKUbSyr5NNeGskRUvQFHaRCBJ3dzesu0anvzgA0qGEKPwTFuhn4a/Ef6tv8WdokKfJHV0Zmoi7o8JxIWScKaTyFTG3N+7SNMN/Lv3HJTT1KPdX2nlRv84eD9eRunTh+V936V98rM67AmjsujNPsiw0xSnLrvzbh4bxZ5jUYK63azxf42wLR/nYiLFAJ43ENEzjZtOKbN89MKz7HYKDPlnAB8fQBXQ2NCldW6kuvmy38TlBlHveq4eEsAWrQVk1pZLgEFNTSfrbwFgcTCXcSzCfLlD33TvGUAU9zPUcqnbSyOT5ajqAty7dnv3c0PF77bYnzOlmFB1MFG5zHG8FIEH3WiI1+tsah2IPkpDfmucWMPqVyBWDSqU6YSyQ0bzZe1Hp0NA+CH8c7Fiza460ZU2YxUMF0gjzfg+lwvrMu+XsZEIR+H8Rv1oxaq/ov0G8jjRrFrp1+WyauikTZRuRb8X+bVhUzce7fr4Do0KptnWV6Bi2WUuW6M5hspw0yKsXA0Hg+muAOeWKhV9fY+1Kr+enp/d40Isb0ydQzNPaEzkavsxJPmxzgLUFebfa9pgLUEHFZFGi7moknv/3lWuOMOJuY8RF7fa5RGd+o3lNybulTLupZKYBCrGBtopl2IYQGDByocaZEz6jZmnBx7WhXLQUfjMAzFbXen0/a/aAUh+8Gn5xlyJZEXeQQwWckXxHqKo0KhuyzQfXcaTw5rBPhD0f6NSBn+AKIB/7qhTWlPKN/S00XJvGWgoYOsNiV1ocaQeGbjR5cy548shujfjt+gDKp19oiuX9bkZL97S9ksn6BdmZrccXzTRDuBFtCPrHUw8qDU4yJk1/43An8t6bHPpyaC4yo5nCxM1CnLvVUErW16p3Wv/TrFL/c5Z3WFm4RYUJhk9p0ocaa3jEkqO2Rtz2/bn1rAX4mSiz1Y1Su+bHjJgXgAM1WzXvLTiTp1aHYAGxQLKzhIa+jjU9f2yN+1TSfV7gxJx26ymLODcksx8UJLG98ONkdpq1vXgPgucE2rNA4KNEfn+crQzIMAQ2eYyAjIVLwXF4jaqZBiYX/RbQTZry0sTTib5lVAY9syRyvCKvJyevbYE/wxokGmyTLn1154qyv3IP3kxHEDZJPjDYudcVauaZ/PFAaPz1VMJS/1MlhgtN+pBadu5kTRdPJnb2AISVT8Rao7UxdKVvOjWgChiENtYlPVNIGxIudIaU8wXVCfwifjqiWUQtmdfiJlua1lLsuV7LPzvW+CEYeZTMogM7ImveqdWP9GpNAslwpboONgFOWbAkFU18+ISJAVbDcuX3/Cw7HzW0GtxxBXT6ZRW8+mIbIgcLjEyjHZdtIh4A0WSQk8CSNQkiPD29yeRp2hL+dwfzpRwACLqZS0VFLJPZkmFB4dxLG8c56G6e1kyrUIkJkyqa1U77acr7QBsg2rWFuNAI4zAM6foi8dEgrFS/0SA2pKNAn9YMkSHW8Zy1LcfPTnsprUP4FvAfzWAjWgbhPvy9keaMvZx34wadzQRKot+U0TceWGH4qQvbjOfGdOJnanhDKrZOV3gZuIs9QjSWMDQ1mDt/s2CZXgmtgjYEiybfdAvL3oaSPsdp3XpXHcAF8o//U/9FhQ2CPCuGpBp9ztqKsM2DjD/XgjeSpORq5YVmq1xEW+EY2a33gKGugs37oXjw4lTe/SrrKZlvpD+dyOT4hmYKkxqh0bqb5Y8ejd7DZjgNhksbqTmeSHWYFoW1QX9Un3fSxUc9Dzgoi+h1T8wRjcXtXjUnN+8z6m69hsrZUQWx03AdrFi1d6TKyauQqpZDliJAS9Nn9FdWpkHFgA+a6hsEvwEBj7LxBJt2z69pd9Yie14hmHcpqeq8l5/6RwsDcNKBwOWsUX22H5g9ll+TwQHc5L2tbR6MCca5/2T0XI4qYPvVPrmF1lbG7jYJrOuJ6HsaPr7c8e8rFxjSsWeR6v/ZGEPIX7YB0VO8ilQ1ICNdoI0GtC9ZZd82GMaWTFasdvyoAEgwoD6ktaTNRnfZw/4/dlAIM1kcUu9gw6++B7PdVNg8fCfM9ePgNUrlOR2056mXVUlQayQkY6ZLKCf/MKmuSxijWmACyPuWGsuBW+Ld0vsckL838sqLdWQtUExL+vE9AGUhqYUDvZQCFKWxpWCIbwv04avkvhJ8KeV0EuLYVuJFwyD+LfjIr+LMb3V0xPgAhBaXgQ1mmz1P9qngXGMJItyJ7wb9Q/fWtsU1v0bWNB8CIZoAEbLERPsOHFbcOxrOwyxfz2M2o6b6C2zcXxuyPRWSnhAEpY/bb/0czGkMXIt0sKW8QBWE7JNM5vW/oRo2idFQlNng7i5Lffj729BXVEGBizsK699+2j5OYI5FQ13/2+eLT0GLUrD4ftBx/AdX+uSdS7tM167DuqNyJkPQ9A3Rs7b47c+ahBo3i1D10KIOcgnXjNJxk2Twkf6gmiJGIpfiPbjELhog46VbfvjR6jsoi6bKKwxsL0a9dEIjJQChz+adAigBjC0UltaucF0SOrsYehamGJvosXDkfIV3hV8+SoZizw8Vv6vATmKLwASEuiGls74nDe+QYaa1J+S2IpiL9bkgu6+IM8UTjl+NCf5LshV8RTokDXc2hu9SNMl+i7ZYXF63Uqu48yebgr5RCQCXYF3m5B5Qhb4nr/ZOiMUHWSRWxZhpc7JvIfov6DXwEcvlBW4rEokUtchQGzwSXYtQggKS/8ll7LguUsx3N/h00oCwl0XoBKprmoEraZ2v4YLlMEaL48qxbNPXInQNpK/LNriaJO+Lk6A+xhu5fip+OoU6rM6WqIEP+zzY/FKQmTK0slC0Dy85CAvBQXMlgGOZzCLa1+EbAi5Qpl28vXxzNZARLwISLpB/QSzcyZ3zi3WOJgrnu5ZoQIVjAzxAKK3GOgdAakxE5afstMPQ9lYlpMbI8OjRd9Vhw8hyx3kPXzUr95Bud2Vuglj8Wktn0IoULZT+5FswkP+9/02VaDb9Sd4M3yuCCTp1T820ICqFnkZkFYTwCrVy1Wcx2jLrJj0fMo2ilNlE1PNAaZkBTvxxWy9lBajuHDsUcyDSLLsPcmETxFkno3LbgIn8yb9EoPx4rvR9+N7mMbj9z+GxRPuhzrhtBIlxtADrWSO0uCLob5eqr+3xEogO0nzsX2YuLnyS6DbuRENa2Y83DyOWqgnvxoigtTxvf/U7xLGuOYxjtOstgU1cW2gOTILIzgGaMVCZNsIiKVz7rWiCGvm/caHwuQxaXQsWwh+Cnaf6N99IBNBJQqeCznpzVTf+22uI9IAW1mo7Yv7tBlVEZu0WbEUhfppgrAYxxq1g1o8PWb4u/k4OBfSf01aBAqyxCZrpIMV0aEhEZ4WSUwm1udx1XeJm9hmRH4cq+x15NVo7MZGMFiGdrhzyuvgTN8DVTuHXt8KE2nWhN734Ods7pkM1C1POoPYlp25M0mhw+bBu9DnzFsXMn5p/iIl2+VtsEWOtDsNkEZZ49uvAGpQ9O+d5ZFcKZRzJhe44oSi0BUHC8f+7FZQgYit7FiKNYDVuuBEbHRSwtohejhYZJeY/I4jxooPErfGYLC+r2zm2Qkc0Nqr5OTrEG1K8Z+uceW8mqEm3IQt7ejWvhfCua9azYup2FsCNenIlUO65KAiajVgDjRn18dnHeLtFPzL7uFZuM14DYWMVhHkfnSXIaN2e1anzPp3APAXQCqeTxiy0i4dmgbu/wbKFedxYeckETZBEBgvAKFJTbKEIc9d9MchTu/K3dGWf1aniqgzMa+mMWtuPOgpANiGMNy8PrVW/7TTHFuYJdOBAAkYe2QGWNGF+yxnDWo2zDx97BjPyg+VeTKZA/CZFcFWO9L6mP2EPUhCWlo8Scv5dNq/jYz8Ghg79YyEYueffubu/OivgQph/i2/DY9xPxtXhtBMZ+Gker27++rBMcUYcG59CAAbBh2xacvwS6HvjILf91/ez/dKAxfoNnY1BfHVq6nQ2jt1hD3vUKLWeMvSBZiVAgtnLH3opoF9drK7IJtHR8rCt2JwX66COeLVaq2FBVmMkL6QEekTAz5ZLOvc+ry2M4ZgVG893uaTW6uyXiDKrbT5WldeSXVgdV9mTZINis6/s9raVCINEEqN2WAQ3hGo3yj3eg3Yj05CV0y8LHodlq9CCauV8s45Kyc24jpaQ4oeQGfbk0njoMJmVrVX3J0o6enaEhrWms5ipZMfjDqG0zasYPzuOE1FcquTWwQzd9JxOWac8lHGG0exj4KrX/ioJGhqODS+j8+USchjtd+uZAmbkLdU4iOqoEiCiq637Rmj9RVqv29I9zHPRLOmaTlwfZCPMCgUHNd0QMkmxHXEj9r6Y6MtyYWCmdFees2G43P4fJ/oZc8rSEqaznGmWryF/m2MHg/QNktVPz8fEoAjt+vwoDN7wuTSgb9MENDVy56Rpf+du7HVFnDO27LuMsQ4CMjWMPHvBZtvbgMXhE4MlrDeFCigHbTEtWfM0WImPUdMKjwgVOGReVWqtv840egvcIaE4wYSGccw+AZrPiAV/dz7GbWPmI+OuX005BMMPX3eOi9qLR1zNMdBI70AeIDdBveVJd9h/KhUlUrLYCb9JUKJkJWTyGIDQ6OMtJi+To+XZZ6z1JeqD0UL1bDgBGbwGVTtRkB0xMT4pbuYsLHcAmhcOg3W3ZbBEtMspcflLSlGXgKVVyTNeTk7S7+8ULNy/7cau8EQ4LYw9E9899A7DT/bxFfw+Dw09w5TYXkieXKd4TMR4WLeM38aFRBeTfymWny4IxUssNCGJv8b5Wi/Yet2PykaJY0AiQvI+Ov2QSwYR/lntDNz3iQcLJKsi86XaeTWws8iqF37s+bSUgSWG+miIqfc8B1ja+/S9BO9T9I0BggvDWKQ8T1eULoj88e16A1wilorqyTmiidpx6S8a6Wov4M9tP0Y2EKAaf21f/1CEFqQV9UUoy5FtWQsqMKmouCswzLhW2NT1wxG48BOpY8oO4HEYDqpfyusTHQO1+vEUQCgI6k5SLSxmXS2GiCWuWuAc4T5PfSVK5XQyu8/NCGHn9UBNAN5x1YKUHb0ArK2P6krpfg7QybsohKb6m6e+AYherFY3Brcc5E5OFxc96MNNId5DeMbQNHPiD/AI2faO7XA9USPCfyz3kKvhd+pwTDlQA8wYgEAuF4jx6li8M4m6vQt0aiUNZI54FpKqs57MSKOPl2z9gU6L+wSnk9LhoIuSMZv/iEPxc9lu3iMdIAuIiQ/4kXmMcUh8gEzDmop+spaIFaQ81q415D9pDSsmX1kRt+qSSrx00T0pDbkZbySyLN0DofTYonUXrkRL9y0y9VFAMPXZ7D/2E9e3q8gthxPUkl/akO+blxoYlpNiItURpg0+sbCnHxgd9hywoZRnwJYQjns1nn77U+YpoEzQesZex47sh+QqkuUCoPjETX5kkbkGOkQPEcCFqzg3N4Qk65MMG9RP831Uy+IqKg7Wlz7pKoaeKRG6V3Cj7MhAQfMiqZbzNhOR3Dga2FZEETTRkRIJCMxdY0b6ar1tneUz/IBiL3a1nwR5dxlP2L/e9SYirZ8pKda5K6JUyNfKtNFH9LsJG9s+BoDwAfW59YaVpBxXYvEUv9glZbv7kwtPTad2w2bkk3yXNcLiE6qTQ6Hwy5Fl5lmYscrqbZRIWEhCKONUOmgpdlhus7AeQheNJFpk4Gni0+O2+I2C1lvFmteXUuih5YQGVsq/Zxu+ro2QJCs1q7td6DVf5XvfCk9UAN6QE7ktsmc30/sabxsR+X95tTaG+B5HUGP3+ptlSzD7ugku6wZ+08khtWfKMCaKx8Ch2hwND1noWit+tjougY2h+2aulPms4+KCIhPUA9goTT6SgACBlVGtkU5h8m6lm4tnaouatP4Qk7A6w7BKFCzWPYOBMxtAQDjg1x+SP5sIVYDlbpwO/vl4NNiTCTltcI9HhIDodvLuyaxET8QZcaO07JSA1gVlK4A9NUzepURFX2CZ5clRCnbCmfjCeLT7BrO+AJrChkgCme5C8Hnz2gtLgwUHne9OqRKC5dM+JsZQzSjFyLqeppQeLD7NtG2adgneLm1Jymt5oNcCuiDhjnhgmy2oOFHVDe5PKcZqGfKXOuuud3mNs6PfAWYSjG/2ZOmXaZW4IyJsSOXfmebyzF5E6mSMl0NteHQVK2o8oNyGYB0OaYlYydBB5yn+FXLyWCpEiFeukc/aT/6yeiLQ7M25+KSmP4Liy3OvSD1b+kMTAkmrcscgbvw8mDQJwO4vEIR3bbBuEED8tF6mkNzQqNoDThSMbT4chlnaXgUcI+0/8XxjLPMOVjUWeAD/CHh+i1vl33kHJ0t6L5auoqvks3CG1ItRI+RM+vKN1PPV5s484nCzM/iY+wMLgmTX/iMvanbCb13NRn7bOjm0jzy+41utr//ccg+qV59bQJXv9Gr+aW1DhRh9R8aT4BbYwKSAEl+WWOaezuQUoOXMzrL7GXwZ/RpfwAeCFy3uciOV7/Sb+kC7LH9o//xyL5a/ieWv5lM2nXuGr2BBlTHSsOxPgfC5ZFQxvSkr4JUCVfw7BHXZCPtowIb9XuxYJUfGJUxqd44ZAtUoRLFUDfgG4VKBP1gPMvlVmkIB94VVE8l7eJjDJ7QYqBtQEOGQ0Yu0bkfdpBHhlM/xjgdT8iqCizTfipHsFb2Woe6NOux4iBylaA3Qe7ggjp8t2ISgA0IUaVREqZpyEpSfycWZs749RYppD+b6YdpP+PqIaOcMRp+BqXhqqtchsJZHED/LNHF5yJhRHXZ/khE3VF1FCX9NxYFU/EIsxuIgzfQ/kGho62Rfmttcdczm93ibTo1mIXl/reC2RFxc1xDy3YsbjLuYqwG24QIRvrgf3ISP4o4sgJXC+RzpW5ZxbEltvy01xqctAH6uI3xXpm/d3sa2BC/L5vNbUvsyRi9as14oNJ3api4lU5dCBP+C5GJFf3y3iemnishdygelS/uVlILZ8IBxydE0BNRx4SxbK0tskdbIjnp7p5f2vkUjhR+1jZJpcGaOzN2vMMYhWOt0MLLcRAbYVY2apjlt7HFSMSprnrmvZNc8xBWh1bnYmF/PBG9LAYW94DzglNUtrytUXwCGGlMrl9sJZCb2fE/x5u6YJZnHvvoYD8kngB12ROwypgZ7SJkefz7vYNucGiLon271aLroaF79WTsdA1ETQOcD+J+ibzSHkLvXsxfFUzJOcNdi7H0wx43EILHOa/F5Uxt/MaZtFfejRya/UnvlQ2zd2/9Q6yAO6viw3DhORLHFWeBkJ9UmyVq5/sn4NHp8wuzGeqBHYSkCTJdc7GJ+bVqmMkCyzpkCE2OEeSVG2GU3TmWo+6tdL2khPOqE8ar2E7OGfLmIadAkyT+5TX2vpeYkZ0KNW+PsUUBQZyPOVlTKsrUWlNfNgSSTHBQGxBQNHz6hcdnwsdQ5WTvzhj/reOhRLbYLa+g8evh1ywJpdtOL5e0DKHlpJxIhQMO4JRIZuZjbnYhpN8IDqCCbmD5bKWIMcQmZt5t4xliARwIXbAb38s9lxQeUVEEap2UzsDZMWMkwfqderKot55m5JX0iTiGryUDXuX4ieas7Sgg48TRXbFmAMhyNwvK4NvBangRq4KFxvdRPhQp2LbZg4On8OaIf84NXJYR31VbFzlO6x/XdBraGaZIRCiVPWosCDLzkz4/kkzucHUTZPm45QGBMAyDUzDDMBHcHfDBTGyBTyo8fpZ1wNzMnINxzWJ0VFslhuXmhbyvZM0rdsoL50yHiJMTsdKrhF+GsdvBORqbNh+5VX7kYsafo2VQvE+HpoEeYJiROrsIVgSb872LZF9X12WpJtqYepWBGmYBLBM/Ia8dcYwj0bss0maqDgsy+H2ZeEIBgvgfNGPVfObkZewBblAMWPKyXy/Pjfm8tT3tC65gnDmSKrNo8dpuvb1BdofsLPD9SY5vs8nHgyFgawJXWg/2CaJVFkKVxpDIMqGL1GULBe8R/7oYhVqODN9NaDJw7Gl5QqIhwFbFOTmQi24JrDo3CBKenFHa7gh/JX4uA93QXO5Fgn6og9boKdFxDpSiFvoq+3esw0iFnN2BkKEKHUwivC0K26RBZDCOJt7+mvOcCik4G3hdkbYcXi/TbhYsHQTGvtIfeuxGgA2mfCBqIGQOI5qs7fy68X/+deQ/Ahbtf+BfNHnQRve6fLGFsN7PBGAD1m6axhFVuVBWjjaIW11Pzb2iBzsZ3QstaVL6+OCwgicgXpHEdT8wGxu0P8xtMH8kELsruHsTOUJUTMXMZsCIxH9jpqtv09l69Bra2dta/xZHoQ/kAJNT41PY20ALEwZT48GldPWj2ehavTWpU3DGE12mkMoFfCbq0TeA1Sc3PEbJxMptc4fPIUl0SNmbJAPrCNfQAKlDFUhg85IVKgEt/ljTk3bMpDqocN3hH5hYxLXmEL/DLZXHQkNvJ0/YS28cpdB5R8n1IXr1x/gCENPIys1gc6DIh9PQtX3QmkgFOySXzIQR6aPqqoj1yVNTtSawfbxyBKqtGZfx4XqXxvPBmahjhuck45FMhdxO7HKwfr3qOPxMojLSk4KUghRVj6yFZjKcTEZHEV9JX3uWemZKU2ms9iErrkSUbxRQ8ZuXeqekgyeyMlSt+GGpjA7kcQsFVBtXigJSYxNDIAbrXLS6W1+lQoFIqNv9AxIZawmcISr6IdeluFsq869/wnA6d+xIM4mRMVXp/FOelhF39TmqnXttu6daZeXDjg3n93S+/GCS8fS1kcOotNisWvubsKKrR+REOXlhsZJ98G1BCf+TEPwiRcByB6m6Zg57QsN//UpbahKM1HMNBjLEjpp+olRl3shJX4plOohLipCewg4UzTQ2jbSoo4Eempr6MHlg+3qKic2bhj7g15FU8/ZaOZw9ihi4fbcs1bKAIn3gOEsYDwbkunp13raZyo71h2CH9s/GjmmUmKcuzimrLH65lGMKxb9bP3BrHKQE42ngLbd8jvMi8p70nFcbY+QvlKTHSck/DybigsdHqMwWQ3DpiXvBCq6emthYbSSCK+U3tzU+flVvYUuob8ld7I6fComw3WQa/14zpcl5qjpWTgAub8c4aPz6aw9HfxvxZtarweAU+wspHr2MIJTPXx6rymDPpP9S1p4hmzuhczKw4r9Dn9mhapJh/x7CwEHFxcoucofhbj/0aGBH0FRYFUyfqyoRosmeX+1fxxoVaJIVkXFYdQ4d+gZ5evaLk2Mcgr9y93yBaBAjJ1+vAJRj8VNReJIuRkpmduuYkqzVTXRfnm5bKtv0hZSeEGZXXniQdjxIf3O5ca5MSZzrF7nKH5M0gxlQ2ehvgwpruQcMOb0BydZrYCwejLojbF3zzPrCCBRX6KZFJ1ZHICGYFjNBPlq0ywbAtzkAoZXYmIRY8HjTxmiNaOMjAD/kPDcdGpfvfKgG8l5Lc9mFY6UwDYjmLdonN8GChcE1qyfgsl5vJ6OaZFpY1ULT5c2mjhKBTQbd84qDW3D1OW1capSL55ai+ALpHb3Pr2lyc369RzfQb0DHARgWSb4BNjiTNS6vBMv8Xt/RA7HP1J7Pxc41zN90K9+H+zDZ6WfLFzaNJAk2eMMnhhN/uBEXi0O/w3lN/KwsmobATuNztCbTIBbBDP7hZKUVtEFkW6ycbB7mGrrpjh5bgGPapJGUopazYyARy2A/4y1BpBMy7vo2BARHuKMdbhn3M3ZyKwe9QMzMgaoIlWpbojOB6IlacASE313MJYnT5UfqXx9c7G65N1/P+B9/iuJwhKXjqA7h5YDw4DfeFfFLeT3su2IUIh2I5W5qQooy9sp0AMxpthHXWq+bpxJOqkjhQ1vVZx7DBUnO4m9hNEWQrSFOM8OgEJwTuw3gkRim1MLBpDxwE0hkrVFtQf4XrtHu1IsvhoFK2VmWA7/ouqZiUq0IOLPQeURHEAW6T4ebYz2mCJGo2qvRkNNANkmBCVkG4ZUbKKwNBrdeMHe8Y0/KT1bRVrq9rhcEWkBKXcj5TWMlfEWz8L3Nn8sravH63SqhBi/jb9vvbQH6ygWxD39EjHnjLNQnoVqXgOLNsuMi4tpQXvRSTCPxfmPpqr3JCv6CPs63HWxRFYdQUd/Nc8wUp5zxFAV27+hEegzzp7bDFvt25CtxSqwuLHToeF2eOUtd6umM+M4mrQ7AD9mDTJmtRaMKpI/KSiWo9ViyO0nbk490mexj7J9gmglPzTLBevKMtGAtpVP/mwJc6bkieZFfC3TQqw0cN9zDHFdm3gsyrmZl1Ku71bjd8JUNMLq2ydHBmz0sgk8MKLPtczzT1CjA00EBc3W3LqEXF/wfjbMvlytCQ4UipKfvYk8UKoP3TKh+yCTmdKx9O3+irg0MD7M3LglU8x3Rj0k5qM3MaLt4GvKq/Korz0/4XSTINBTlDXrWdfU4A8zdyAMXEleMv/8JHsktVjaXpXcqACjAC+dmhDe0MiDAVC2dXtH97guV19CG3ccOQKobIpK8jxQ69y4xciFxEznKNfu1ZbjNYxtGgMJJ0sEIDI23w1r5so2VQdV0bLYY21iBq7bWmJGf0LQqLldrcTcT45UXyeHcIvYqAuSkl+SIWUiT63Yk3wVDf0Y4r6qxBUV8dT89G3A6QLeNhZCjHMP/qjX/hZ/CkzDyFjfMet5SLdP2FrzY70Prc2T7QjuBDQHiLpygy0NR9yOMBEDnmBaYEG1rBRgbv1kjRe+5vazaq5xGuhXgviXGeJy9qASlPc2LILAvCjC5UTTNfuqs6UefLDWPmZ4u0J0K5Zm/ZlD2mFBia74ZNbjIvGfrpd8rIJq21K8RLUwxbRYf+9shLqr1nlHT0FMZOjnpXhwLbkNhG8OjbmPtwGPZfQ7jMfD4hEbguMmy8Y6F6mACHXUWy80mPRdHofx/VOtN61kBFjkM4YlhUdRzAWxw6Q5Tw2TlSyTCBFXCuYl56oryV0u2GBB4rnwHX0lInMH3CNAXWU1IX0D6nIrblEcjSCU5BTvSpR8MwzBMiNo/Zan3Ynb41AJfu2ypDFcT3CwsW4GbOr53jVi+mjKieFTF2RlKso6gORGW3znuh7YLS/DJ85sfZLg5vgwaZRUfdravN0r1QCJoexh/fFFqlqT0MI180qO2bA5gHh1mfWmTDgsdjmGgTXL9LQG2Li3vaEFb+Bpg8qYjlxqPAs0MxHsHaao4pmBEcFoiJSkSTYuJhmaOl584IDgus7oKScG7CryxQK7IoR/1GlxIgk39i9Rdpoczyu/OHLCUDbCiAE1Ufa1GDyHQyuVRZq+9VEZ00OSIhi2xPU4WKbGrVFua5LIpJ8Dj1atZ0rgHxJX4ap5N4cdGkwnwt/Ry5l+ME7glWHH/RF9mRLSrVoNmJUlMJ2l608MXcbQZuK0NoncRzQrR7htQVU6N9NMH3b4r4yduk36ZzXTMrVtHG0YYYRffI+4kj38uHLLhcTa7Yzu7ffd6Jdqmndk/hpiCWiJduyO3jco1aMGnpeirzClkIyTIGXaaYnS8w+v6uCqaoccbwB/R4OEGXz3A3uDAT86+W4k/brLKjux6lQ70JLxVyZ3IbPFkT7vDEamApGpuLqmr7jZzKGKy4r1ZUgk9twGW2uv8q40OZJCw2dmmcCotOPaWsnEbyG53CVYsYMgfTUCc7nhi+z6kCUMogTgH9lAdsAfVt5X03cwn/tPbjbGm/llLtzArnj6Bs55HlPuXU+wuGLYJOiscRw0uq+9ZGofEE9j14x9GHW0yy6x2mP+0YyFG32ntjC/YeNSQDnzBExs/4yDAurWvQZbc4hf5oExRaI8uyO7qh/PpyYiWpGC4o4cAbSeJcYPsr73LHtdWJal+zFfCoDREY8UtuFHtsuIrHfTxlRBKUdDiSezfcFdB36pjHotk41AonhLJW4QTOtk+9Mj3RhnVy3Gw/S9GmJlp8xXeJsKAfv/toXQGIrXKEVtLtaSSHqPKt56SZLONSvzAXs6i2KtrOVEUsTjHBhUe+E6kW2q+ILdWBlvGeiVqe5QOTF1cNo7OLyQnYxSy6dC1nczvFCCC+1FBasooTmXlIGSAwLBLTSmeTvWpC2os5eTVtRvqljB3zg5ng8qfXqmq7sLyVgEYdfCkGv6d7RJvr/w50YRKUCEXSRNs9kdzbre2GM7ajxVnxEP7u9naA78jUEEYq3HQFTgKDsqZMPB6eeqcBlHVLSpjEO3xLJvn5Y6gbyuQ8/fZsGGEIpJjSqdR0ae8uW7KDQ31HgJ2BcHaZsXzvOfBUwc+fjwHY2sNsCSLRNHSDlT9DW7DeBt+X8oCAjrG2hGbtAcX0wE+cZE1BZH8PqctGGK7M0dnm5v4SbRMpNa1X7XBr/eEeDSxSNOgXoyMhx7hG/3TxpCd8CIK0Dn+B3g6c+VQAJseFx8u6L9K0SdtqkxuwBmgv9eCPmGzQRXVZXpMdV0jVgjLI20BJBZ/U/kG9LPnt/eUyQjBnUR4XQdIXLrn8hgLbejhhWThPUWrmunBGE6MYLego6Nw03lxHPMJjbT/8/02V8qW1b1efyEulclRPfxG9Y/jou2UJEEkaAOnMdku2cE2RxFDoUnXJzukJDy4A+5FyD9Rm7p26o1lKMRJSf1A+BOLwdtq7y1Z5gIAoky1uib3OLfXctqPrQmpHm4UYVqSZ6VrusPdFk0ElIISKiNuLooaXDULMhFoggFbOhUQbBubbk+O7Vv86CGdg6EbPoNoiiaVGpKY7Q99typIjakcCQMiAvpG5amgUa3t6zhi7Qgf9hAhDpaBbBxQ7PuCh2JRG8g1H5EKACrZ+/Juz+/NtwdZQVv1BTvwH+qFqtWmw9xq+GxZF6PSjB3lPVDLt6muuHwN08RDnF7sYglaRl/ynjCX+bHIvzAGppjXBiUbo4I+hj69ayvBDLKP6X22DC/2m8qAB1+sC50tCwxzmSGCOl6Hj34IVLsQD0A+covQfr3hgDR+fIaWktLXBRCNFjB67+MhCi+sdQGXcIUMFEkBMYOV557PF+MotYkSORtjxx7sgK55tVfLUj/UQm0gL+OYES3Yr5oxZRXDW539jfk/BEA1F2b9vJ1OqtpamXaEQY+pP6bleCEaT4LW+QzYTTyj9gYf7K9fWR78nYw2LusUST7ucr5PWF/9IXmDlH8R3MzOa0EZNXGZhIZpGYPXAipFtU3qnjPlNTTQDvoPe1zX0LwXIKsuQCUUlgJJEXTIzTdFlYFtD+kXkUWIZFSTLhxCTXdiraPqkMInhJa+eq5JNs1l4eQJpmR+/las/fJ8iesNn+BgI9j6YdmjAOvaGF0lFP35j08SOKZpMJUqYFJtGmxD7VO1rrnmqH6Fxsd8pDwUe/BrIGmw5MgMrayYaalkJ43CG8LnFPET5jrF13euN3IO0hO7K+t7GjkYRJwuGmHgSAK12nikij+vwlIXz1Ztcv0WgVH1Z/PoP28Hf9x2hltRD/CQpLooPFToBuKTXJKnRg1DgjPKaJmDzJtN144RtMc7g7dxOjSmAp7xPwYigSPf38DiHGCaEHJ+CnZojoJdNR92ZVpW+Cc+C+NbAFYLomiBZS9bEoC++t4fCFl/L+xs2/wnLaZYiUHnjaiC0ow+0XHAs7iwZjmGbd/s4nv8bCwQeg8hq+MJRc3e+XKtc0dhMLTdvcC2vZWLFZ4u60m56pDnOWH+M914GSJVq85v43YljzCTtyBTfX7ZxryPiOxx1x6ZQVIwe5aBJji2e/zUZbb823caS+yNqbhkIBn8NAaVWr3rUuf+KdIU+hNTurIQkEonq99GylwRzDADfJ7lCbOwlDAtR4NbkA/Ji4GsK38vBoaTzJTldW/pnhm21mBPqh9/H0k74086yZInD0+NpEHGQQ8exb+MIkzcm22T7ojzS14L6tJGXTWJWWqPqF/ff9nlYn3PROHAsTao8kHY5FXXDUjfmXZhT4uvZM9aW2PoLZJMlgfcsurZWmIZ6nB6SM0IeNINEVSCxEjqNgfkuzIwg0rqDF0klJZTLbIVcN9fhIRu3Ib3YRvI4taIebL61QocEdg5YMqfD6Xbtd+zqENtxLxoA8ueAg8Wkf76JKL3nE2RdxbRElUOTC+5bF2qWOl4ZDmWD1Na7MiCUhTuAsAKHGdo0yh9typnLaKzVQzXEJ/euuyK067igEUBU3EdfJRgz9aq1aJCHh6i71JRCePem2k1QSoSDW21VzNn107CAgAr0Md/gQ0rdSTc3kbE5lAeXqhE3AgwsZ2k+QIEZsLOFNUlxVkRtMZDorQu4g7E80rU12xiehdjvousi923ITGC7f878sPV/iCU0UPQeWgbkxjQkHkWNMnMDyCeoIdY0czeowv6OdiXJCB+4y4NbbDVBBhrf3GyuVJpqlAqJHtYsgOEqJ23VJbM89MsrkUgXue60U06GoZC+k95WsCQXmYiBx8iLPr4hrfOIUeq816ROfNlVv7rVWT2j8tSmlRHMY0RCGsH5NVHjArTP3iPTb+Y0F22n6KaK2wNQnmmel1JCiT13jB2NJFW7cJGl992nrZCo6a6uFi1vu2acN+mRfyLYcnZmKSNoVnwmNp+XTe2RCFFeuygXsv2HtCEBFFBD0xSwnmn7VLuuS8C7y9QZ0UZ9kjtfpFrINCgVWdujLrg2g1STqi3xkhVn5B+C0kLRkUjyYnHe8hfXOpfHBHSynJsGwu8/0M1WuNTYwfyE51slaQYYcdJUftK4hMj3IgdH3Ts3cnWm/0MukG4pBUzNP1L93Lhd29D00LPCgFNeG/HGBquc/pBIe+nsaerr4WEKKpWSMIf0pNh3vjFTPamkR7iWkVvtRBBs3lv7PGMBHJzk8rfsC9GypUqhgqRqDtVrY9h8XXog6eNf/EeiJIL5sltJM7EBL4VAsgp2daXmKinm+NFtTTnePIBEWqlwheeCxfflhRo3BNHwC6ASL1gkCrvsRegpS9U6/So1OMbfW+9GJU9TR7kxRveZjTvJ6d7qjypCEf209MkLzcptn6ie5X6znrM5m4ZnjI1OXtT5VqtNrb84PJcaU6nf7BTYSdz8U3dXBoLj063h2jw2uvZehWSW49U5GkZcGr7PBCRGcXomX/6rY8MT6XLLfn3l3Zx8UvmDZ/F3FwL2iT0wkEAFZLrx9q96AHk5ywpZ4rcK32JDr+MOv2zcPbCR5jI4vKFEh7Z0Y0B15AGvZvzjyiLmOS8azegwzhEHt3fzM/hWKgoXZ9wbrC3ea2clm5u56WMkZ+CjNUVwKf/yB8EXep/ghz1dB4lkVts0b+zF/289AyYWpU6wuDf49uluCJzC7IK4rStJk+ZnvHt7+xM+1t+T5WsYgn5EvO8oEJU/Yd2WSaLfClh88TU2My7xbkI0VvYxlCx3/zGtgxxlyrf+y1SpGMrZhO6ntj2Fwodmk9DpytYy53iubiriws37tAHTcU/LhrA1cfby+zUBLFOBQldssALWtsuoYz236FkYoQ+aoTeuqFgwXE7xC7SK8hZt/GaRXqxmhymr5jX8CChjNXOhCcQX2stGrkfxlY5EifvkknWfU4wXWD0qiJlfD3Jc+SiNKf9H7TDfpRt12gfc/Tdc5XsMn4ra2+2ecJwD24orFb1fKLkJ/kYH330X+Qu0XUlCe2hGEFIU2DG2f/IiMA+FucTuUpINYr29eEqzYeB8hVIZs+loYe130cbvQp08mCpRW9Fzvfasvq4QZ2/gGdyrJFHHLmqCWObgJ7r3PEtjDMM94Em6y3dHq8pv4Vnihk0swbyAa6do5lpbh62Y06yFGXmqv0jzWT1l9688LxChDyAeozCoPFeY5dVKXfZxaXkLoPbUbU4TcEDwbT/SpRgzOg0Y5HKi1SuuVR+WxwROT3tbHrQ/fKoWjzyievAYw+77e/2Rb/J/EzomuXueW2+4sIGujzQqmSCs2KPawu5hREyDrMk/864Lvk80fhWJrMKbzYzDSZy/z5cUTbRckJLUyH2wZRo4TDWuUkYW1fnFhFjAjIvVf8RoNqh+2ToyZgbhjdBsB+AsvxjnIiPsUOJ9ip+LOS94dSnEb0hLEK8pK32Q2yhXzHTB/vo5mpv7MtcXOacg6+TVTlmqfcuHkQJxCyvB/fr0lxDZgwNCoCfEPpnAJA0hzizfFHAZtmPLqPbcezWXF9LioWB3ZRLKIFcBjsDekPA1zUnUHuNEeV2s4vrh+w3BsAbSv+y+2dwvofAvWCLvEX7Xq39zy5548hJ+XEqSxq4HZaBnEWby65mEUwJMCQDSiBfpoKhOaGwKVGDO8DFL3dIwzDmNBdk9LFkjuVzhruxj5nyTt8JwL2IIPTBtPobAkLhIstWMmp2JnyYo097VqrMRr0uL3Pbuu0KcctTU7/kbNwumlui1+fEkjLutTQ7mJOZuf99d71w+LVFnnQOmR3ydk9n864K1TfMWLKgR4fiPFO26G6XDPdiLTwJosZ4mU6KV1UF+gTc03+xsqMKKgnF9upVH7Raqx69N4BQnVslrjT4UOGu73Ow6XSWwNd6rNjWEKHKhf7DTDQzP8QdYkMXzOnzLwZrN6MaLiGkeAzBfTNUt/kibK7Vf01AqkBPrR14g2hNMUv0t8LuqsIz/xlxG9yQObmo2udJBB+Byql+/GVlZNORMH0HL0TilYP/leE9YtJkaYjvKWqZxZJU5X3Uo29hjJSi8TDRYcDy0iNaFKS095/saIP5vJiCKjS+Q8d1VVZy3QcpCCrnUebRVb4wt4Y2zY3LEvk9JAFcyhuqhB7kW6patit0x6lGsQN2gW/R2e5koE2aBnRN3P8mDHMjfhWSuK0rkrVUxeANxge0H83P4djiqK5jBAiiRpTf7uQT5hUZafg8WpLDthB9WR0JmExuE+Fu7EKkMxa0RpRLx8uiKK3nJzPamdzUUjSHJ5hZOw0+1ct5dvcSB8KvhyLX7laPIPKt2N1B5PHl12TAjXDtpeRwvU3A178mzT3UBr+8A494C54ZnN835foxXQQJ3MRaAmyo26tLCH6L7eFNRlokI5MJzZOlKYjF4AWS+gIKNv6GHdZx5Zo7ICUnG+Bh6xItVUGoVjUnOuR4BVtsT+EOS25HUlRKnHHUm73r4RMR/dPooOFzYN5RwqyyOhpr/w+HDqCcHc5tySeHRXGJpmefneMBkNvPqB3XwcJAAhdXWn9xnl/a0ie5NmTsfyChRcGCudhlHR6Vd652iMUcO7swk49OiEvprCwlW2vmN+bfPEvQ6LYFrfiVHwp2OTmcvi9egx6AXp8xiHACzkLUWH0vrz+Aw/4tZvo35DFuXelS03uDBd9IEPi1M7W3TTjf8VmnwkBQ3SAGnu8xva0Hxw3GKAd65a0SvDHLpN1+Re4rqx7MSOIS6xAMrHCRGyyBYcJR9Ir8GimS0QOUG9ebcOgocHCwTQmynxHdPLoO+P54d6Y1vDZqYetr4JIOzNWWKoK/uvJO4l4/c7ryQ9v7XtRVvpgXI+8B/OigBMoJSysQE1qichNmoOfvmx+F1m060KVrnvqy/WHjNCkIWykSzDfpd4dDbPmBZ/xRrV3V18ZzcCtlDjFHeCQfU179zXnwDER0Wjy6oFpXRje0YtT2WBNF/3lViOzYs5E7rJQpUZMAbtlSyPqDmrmdksmbJtHWwaaEsNNUvWf6KBjlgW0R6i0+iHP1XjRK5If2erDgenG9Da+Vs26TmNRmiMnkd33MiAkNRXoywr8ZjTWSP1DecJLLdJlMiaUd8KZBDM9HvH4rfN0ZpCs6NaqZ48iAUqNA2aEIg63tQsaB9SoDyAhCv+A9VpyFR8LJPdFayCItqtAa0wvnuy56Arfqay3bwl4MvxYfV6sgSafsBhT8z+9l4264XVzqzH3Sp6lWGvHweyDJZGT86lK2QpynnoJtY83oLPrwOnoQmsBRkSJNW2em20hAw2twJaWnsLALHJrwGoOKJPg/hoq+LZ4lKhlHnuayk7AzLNgTJ02Q3DGp/tYrZuCFZT/VSPfQmnvtnLMni4umb9KlkFshtjcIAeCDD4IVCsAk0H5uaVxbTZnwqsbSzHTOQKbzLo34f8+5Bz+bh/BNAWyuAjn2U+ULkmP2iQMrIGoDXUZa61AkZBpwhxXWhBOYG+qsPqKzbRWBGU8pLCKxFxBJcN/BQDtnKBxsGJCVy0Wzd4YcLN0W/iF3AKrhVjTSH1EYs5zG3KhRQZ7UjYqxRqWoIjU2cujhXroTd7Spa9QCT4LT2ZjvUgjMXjcs+AwIiGSXKlVov7UzzG7B/XwbxmZpz9eNwGeJMYQOo5FT4lRf2kxEKS2OBrq8NY8C2i0vxx5UjFI5DN6888vFn7FdvTmWu9JIb65Er1W4zxu/X/8rBQrU2EvxRIlo5vuNwGdnmx5Eb5n0kPFI+Er3ZLHVE0buyp2fBDPlvN1Jdm383CklPKT96+pAfj7Ks6uPyq3xxI+tLRvvUpgryLCACHXxTGC2h3jbhqRryL8YeI+OUkWfO9nKt/krZgwrtM4psqgwVYIdcUa+fK/KvbvHWdbIUAdShRF2n9B4iJHXmEIgHrQlLeX5scqUN6KUKr6+D9eBHZcTUjLOkvWupfrtCcGlqu7UKZq3/0dDqF2ApJAjS2HNGjvyCCsSBKiFZur27D3QGNrH7wQY7Vp8nHhF8J+BV1RRQraFrPHp7/rls33CmixUaIK8w5qXFsd/8fVcdcfIy4lRhk45qnJTDPBDZbzWy4+UAcvzfkOh4Gk/MWLsLrm0dtSE8DXAPr07CPxEFU99aB1sqv6TzTgzWX4vdp2HLXMNC7RhjGFLX+Z54A+veWwKgwKiCWkwXgkzzU9u/p2y3qXRIXWW99UR2DvAfuMLo6CoMmShxjhy9FN9TNoSws3cWs2WWcQX650w/cEdgmAJ0w8pcmY83fa+EX67WBJmfoF9CTWo5jZhPfg8lFIzCymf9o47IzUnkC9x3jLNF3qVxNPaOk4ckPGl2Q59GTAZucn0l5Sflus55bsAS5fzlsPTWbTuLgFzcX9MPp6+lTrAWITeo2dQYkJBdczz2kVb+8DbhBep/heo2rtRiYMpV0vtleKD4RRKG+87KuKbRMEAvDkqtDgP4qlyr6ui68fhYHxhm0pBLw3EF4KSz3mxKS9QeSj7KN/OdNcPOXnIqwHNOsKlmRaVKSmCNp7/gu2D5RmPJFcbRUchSpYbSHuyr/A895MAqnnSL8T2uv/OJhjOtULVwT59ItmBasC9Bw4ROF0iCaUHAne8QjC9MolAJOaUwMTA+o31biICrJAv8Z8YW8rTgrpVzvYLLRfmPuTlQ3TjI1mVbcfod0t1r3bxH17FwbJQ1RY4EuL+MfjWKspIklxp43fUF8cXOkPT6/9R/5TkfsgefHSNrvhLXPd9sL8R6O8nmGg/A725AGD+KMU05T4Fk2QAK54LBsgysDsBLl5OePA2aIz8jcvKxzBEIsMFrLEDt7SgN6tCU02BMZBgHhOTXRgHMdHqVSQNBgHxRu4yyO3fpB2LvspLcZNTAExOtQezyU9AftcUxS4y2A8ixvSFum1M/ep6YQV8FTYRno+uNEYoLhu/FNI3t0q2FGIpVbutyZBLc15qEmUIP4T0hD5qjCHAPkRf8k9T8RwTq23bqJfDr6PoSMAkvlnJyb1I/wvsiAdSw8Z+bTl2iaKR13XGlqiTbCIjTs7V102rn3odHgCjUq+IOJWFLSqPr7AtaltwGFE2PHT20yoDFSB6cVn7ue2FdkG8xrq0f35cslrqRgWQdncSKBeBJ15+SPbhIkCNv4fxo1eRCJmEGFOL8qGHrcZRV8Ch6zL/hUyr1988NGIGID8+aMluMANp03bW8D1yxbPlBwbiicCbh1eDCvEjc3Aj0weRxAcrFciDo9fsTvZxtVXR9RJVQLHe2PwsC1O1LD91HKpWBnlLY6sHjmvoZuAMAFXVICi69wlaH8va0ahLFYtJV+G5oQt+W5EPI73ztTUkjz/pOHuVtKvp8MMSXneX9PFCyHajqoYaQfamysfGdykjvECsXNwhWk0oCWNuH9momygTIn3DaMiyPHrTVzFMNQO1MrFy91P0jruQC4nczK9AvmIy+pspYKIIlM+6pXdouEiG7Z3KktoPWV51X1CVIjGpg4lLiL3klzHzRUYFiOvL+x3rtFqOUPddEXjdXljKLJX/KewM8g5r66TxTyhnLWI4Hy9FRs/F+60495GjOQ3vMh1E1TInWkFI3XK1GZawGULU8IZ/sahMe3lRkVbnkktStVaFmoogyCe6jdzcPjm40LLGgwuVyktCnZcx4d/RfZHOQO61XhbTe1jByGw54Z8lhn7GxwZoRj+mJThSYxnjBVh51xrhHOOkOJteMNyX61hQVkDRNqfJ9lu7PZZKHoONEvv/gwBsA+yF7fYwyPAACLgLdSSK5nJGoQJhsutRQUOvg/m4ighRozQptCG/fsBokHY85IO71xhI7qLxA7br20XLcF+ZI0yiEsXqA+c0EV9fjHPrRwGLIAfE2p7qgtebx0CdeqaNp3QbDZDKAduNN6CLg/F21pHuWZBBMiPlaDCtxs1+X0TCe41V0j668pWJnnQRRd3mAZ6xGT0Pcnj+ZHwYm1MCf2nE/Rmmr5r2WEx9GIk55VNQmoKuQ/57vC0LoTyz4cqe7UjUy7+/65l34FiDldY66fw+r9RsBeHj29r9z0LPQVigv2o8mnNDcTZ7SXXy3Ce+K1txYaSnnwfIXvWyb+XteVf2/sVz2yPid8+KmC0TDCFkk8fFwdUq8mYJSRoGV8E/6UOzMy4HLU9T/PXQ5WmKGJkxSJ2DtO3z0SeYW6S7JQJy48Qy3dV9QhCiKhbP4Qk73/oMaZsdSrNJMqltf8+0798nBCEpF6Vm6WYh8aqpX89ldUoI4hPV/oO1Ir+NwHhX9xHiTB3aMnw95ynD1G9BT6JWUlPfm2TYTr2z3gHuV2qymjqhV0C+SHdRATf+qP2BWPPxEHgZ57BpYdFFrYPmHxFtElNFA33P+Fwrq4Q2P8ZE5fJpU18qcv/DtgIz9dkoSa5823PrhNAWFR0VgMLl7HBwx8ewAtbCldim7F+8EKyWkUtEoiLdMmKda0MYkpYaZDPQ91v5UtbQ+qAerqgxFfMviIBgzws2mXnJj9i5X9uCs7ZpfH04G5bD6TONnUTFX7MP4BLVFVF8trpyLQS/A1eO2T/j8lDiMNqeWA/I2mGnukzGmwJhdYpwarTXSHX+/30k0OQo3QrAK7BGSOTMiO+wn5HVvaPrxi+2M2F9jNrZwqrT9OKvlU5o4o2miTb2oCrCDmXwjpAz44FHeGR12KUaLQl65dPWlAZd6e/dORGJW+//l2xj71ZSuNeTitz/GhhVQGE4Va/J/CUFYERif9uPUBwGKOBvRTTFAz+vVdIQmQ8jlXbG6pGAgnNvZQoOwCCHSJ7QyoyMl2pTjRy7AD/fTSu2w930nL0A5yWhXRaO/MV1NhB5G+by9K/W8smnHCDhM8zQiCi1YHvsXsVSIu6tHqLOMyCuc9QMITQfZj3GdTY+q67WNuvmacw0luLLkyWfo3pm7EbsZmDu/IbUtwvBaOKYBYuTf0Wqu3LVCHIzrNzOSgIcpMiwzHg+FtYvngNuCKRpRsb4gUTA6BMr4J1Zgb+jvK3RUIL+/ZP+FZ5m4sihKK9ZYs67y27ySusZymqFZpB26iwJo4XGJGbpilmKuNORt7eIwKm6S8q8RiM/uSWgzzZX2P4zhyYx8XNBwzZGsHWTMp4KwC/MpkAA6pYNuKqybVaOrJSp80tmOUqsDjbcoE1CX5X3aDDRL60UobOS0eHSfVZPFvlXXYFErZOA4/zKKppe0vQixviTRB1Ph5BBKabj0yA5gGuA9M0z/5xqAPbAU4D77ZGRzQrfWhflX3gipZGH5OV2DiasmgAVy/kSQWognSuZELHHlrODPwSWH8bDPj4qqrcYGFejC90/rzceFox3F/sHZ4OgiMivfxQ25FW3yh82eLZcZr4bLKyDXygXJO8F9LjH5zFvmeQBoJ3DxZLEstH/fh4tqt02Fyb96paW5GCRALqvdIYb7Nyv8gDoQ3XPSBq19udn2KhRE8+KYxR/Fp5hhiUhXcxHzFJKNBhDU5ACXa8z0u6hlc9icZ7HRXPLNF5HkDXGn99t6LUCNOQqxF+MxsM/q4Enq5E1nu9qC4wwdi9wYV1nwbeAho24EFL0mqxRiGoKaQ1uYy2NdWCb/tXKrb5OPDk5QYw4tJemtjt8tMY6rw8qINKtudd3jaiTS9U4hD4AATHQXbTQHlYDEtyHyDEcN4qHymD4SJumHBVIBb74S72tpwtRMfHY94t3EVUwhMa9Ihzg/ANMe+DHuGKz7YY9rBDu1wKLbeyLsOTFbpMdQguIPbk0IoW939gkujT59/JnvGSpAmovAqZgl3clbdlHwWbPL/Vji8PsxlsbUURw0wd8IvCvyVyku38LTrnBh3WsxMcI7ab5DOknYSAxKcrx2xRyQRZwX2O9op8dz59BycvMlb+74HNa5Bd9fkPrBGfmPKwzPe+hZHyU8wezJerAmX5Dy7hjKIbY6/dDgwCO/nuF2953oT+wQxWXcCFqxF4xd2iBRs6qrtNrt8Rh2cJgHCyvR6ChBKomlwAPjq0kmSOr1SArDvhjtQdgaNZ7yUO4Y2NZNoIkqjR2JibEUutjFLG08XyAfs8ugLMr/rg4p3V5InTU9k7h0Ib2ahOTZvIWp+F2Kuc5yxAK45T9g57LfQW4/wAIUrybqBqwUi9qRCXit3ntlR6JyHPhjxA5s9AOxRMd4O2+/A6AOYxNWwhIhOxg4hAySamGzMKdjaaLR7ZjSFAcU/kFko+LZKmHAc9Hv3ZWlGXk/8q2GND8zQ3/2dON4W4fCwI3zrevV3t5JXpnzGW9jtHrK1L2Frn5kLvfkmTik3LYulj15RrYyEOVNDJLlYFBEJgNSaE9tlO668Ys4ROFa+cZ3e5Xc9n4e/tW7E7vpUzUhHomz0Yf87YtYkdR0m/YDPGAezx/01gaRA7RBAPVHGgSc1xvqQHlC7tixIX48pZ+MqzeNbW4+a8RUNaeIIDUl3o8hU2bk/Hczw4clRtXjFO9Q0LqaE7fewq1MnKrnw9vcJu4D7fxx0MRk1LapgctT8Wykz7vNwuF/qTO6dWOKKhyYDIiYjn5sr7AowKFPjP8URzQUStg3iCRnkOXq/Y0Bgx8FLbf+Hr5xxDfbeaLW8KVlMJBAeKVyTjIs84pc5zSRDEBSSh2YhXbLJVf3lmSCCNZM+M5F6BT3uQ912wWDLBO+VBjWAo0vGAOwYCiYKaWSZ67Q5sjHWlHkU2euk9zA6mNIj2OAy4B9dPt4tK5LBwB0ViO1VW4l3vhUAqoz+wm1BCDBUTGo3Ypy9UGJtjAdkwLxAKTZYCagSfBVaRQ1PkyrdnqwLSG5Qv3FGKXgxi1HIPD8ImMtaeGt4227ZQfFdwSEJU/n+rBebb3XYOHT6FzBWESWT0gMIZyalzQnrTPElakGMwPl5oY2FgJKfp95eZgb5Mhx8IFaM7N9dDwNBPExhDSEWovf5CkQD3Ue5XTg81wxisv7WkcK2kAM0a7LGnISdxkBdvAJlLeEtIP/L1hQN1UbrAE+0fC2W//ge3ZYgYB8VMTEov42MN/XIFIBWNsgTK17u/zqKQd1bhj+/enEylDjt9TfX7+WGQPtGecItPXwrM42QE1SeSxJDI6ivDgTcyU8ZENIUc95y8ei/j4IgAvtrTiNjnnO7hpFIxEMb7xwovaFuPl2XdPx0bE7Vf/tP0oYLu65c8RgT1xGdDRZ+xOB8rbdfN/WMbHCak4Fx2c7iHmtD7+o/FtNHwcndOZpEDrTwETcnj9YvsNReFJ6uQmOXffu6eN6YRnzHJQP20/5IL9ppDn17xELLYT+/rkRwiARIVeDJAhmWWZEbBCXsFJqO4LpzfMtJwfl5yaHL7UXS0in4mrcrFrq0AchpSdz6fbSwT6wYg7TV9IWE63bOGVX1lRmBnG5f93hi2TvN+/q4Udk6/gLE57MJ+bJgwO+T4RDEdwuMYNyCi3fJ3r0TR8DXXFGGfJixlvTjPBeY4s+0QyJDkDnDN5MwdFh/ZoH6bQIH2nbCM6LuSqAG5Yu5OHvMdkdHJk9uaNLrEumHtEzmPXe9UPWKzpSm+cuEteS7poKakK8d+To70v4+4Pvynps7Zq6D3eDkwkWx/AOlp3r5wWcbwCHn/76cHGH9/wuSVXvjifpONt2RxWbamPUI2HXQmfzPFMdIS88iwdtF0DB18YwoRyf//ynnn3bJgTdcL2//1pWcPZu1BhLXhvWW3orQofRkC8v0OSQ4NWL7WLAv10sjDACkTn6kIZGxwAWcLRws8d7rt3f4FZfvwNWH57UnEGqtq0jIzu36kUWl5JWPe60RqSjYkiYwCWxss/atzx34G4zKjFABq5ip6pWquUEqib+mUsWir0+ubZ3KPOADM/SQf68Yu80k1zNTOic4X9tri0TX4KLOhArn0Qz6hnCYph8IdNm+31Cp+f+ruQedlE2/ZlAyTAWv+8JdJHZiUf/xFcHJIbceiviDddVVawtDtysKCjh1zL6+r/wlK7ScG/FLJdWGtb+zc9/kdI6ja0lKp0o6vFrC6p79yei6DGSAR/BO/0OLW+Cj/vqI9Kw98qM3TqlptX0KLCTLf4OvLWF9/jmA0dgq4mYtPEvuss6Kc7hkBUjUT469r2aAvB+NXEqTyVPQU1gIkMzyO6Ew67VI6PEdszg3M+ANAtgGapTBeeIj0eeviu5xs/ycX7l0b9aC6VZQ+LA7JxfA3StElNYEDdC+99g51TbXfw0i8ohCJPXonwmafLMegacrNH0g1dFIuUWfrieSI3G/c2yQzNpEEFanKroI8bnJOoMtuST0LmDlk8L+RAkmbsGs4wGRhzh8YBcR/WrHX6U93lUz13duBVgfvBknISV1guf/p2P+oFHHo7XCcQw/xNxuHXJBePRAmzjZqK/NiKeCtbLvVmQCp/CSUKqiFyaVolikRVNVPy2dK1Q8ZmWnHhWPwG/Stb8M3Yu6sPLx7VEV2KUk7NJPRQewe1pEELnwVWFssO4Fv6UypPbvlL3fOcCPolw8IutsLHVaTaVy4+p0jsn3w6c64kYV4KSauen41ozQgEy5fZOOSl/RMA70GwtCNxK4a0QLBhtc8jxwxckjVqggRZkrgP09xwT1eoMbJgoBNPzdyABLFVlDVzOtMDt10Su7BzkMekK8oCVLYJtoz+B6NIhO3dwBhMirJ2OYQ8tmzTUhyX/XRgu+127Jpmw6/XB2DXRNZLFFxnYvCiXcBzpeCDjeI0fsNnpV5wZ+SSMStC596BRgz43g/imu2K0Cd5yT8P5D/VJmTtp5kjIXXczZUrmItchFgtf6mSDs/a1j8/2NEF7DU01hiiZuPWibwWNUnKeZbkYRjK6ug6eykww0PykA5CP+WXRUr1VnqB92IfYR1izNfP6skc9FulCOXB1Iz4PF/Uj4jHRu74/0bTRa55QLwN0ZOAp61X+HowPwQRksxlI573R9Wq6ngTsBweaW5chKZQ5ZCPhS7JQcnoH+MUCr+jpxhKjeuuoFEKVLG/o9YCnX1LkCzy3ZYos96IrJab+FUVU0ql5iqVEqqj5f3clTK4Y1V2w2aBpk+Bwo/KZ9RtiiQLaXeTp8p/Uqs7Ww5V7lHfOPsCf+Prc2ti+OPAeCjJMY54AIjd3ivAmA+17V+xAnkSegUl9AjwMmcCwGms4xjKJHsDtcth2k/UjlwTpNP5Kag6SLpf/z3PsybX7iBPQ/jidFVdpH7GtBLGv9oPXq6F/Ta1ZMB67KKOPYqfpWXZuP/JuGRDaTm0/53aXiqgY4YsjkMVLoCCJlyO9jVs8E6afuFB+9O3JAPs44T4LK3Db5rjnq1vKG2hG+tZM4FCFbHm1PKTvk4ztHksJtQpdtnaoJTzpjQP1xtMMOhlULDJjiCAfgd8n8/tAZq1nzEv+7lruK8jQqSQXP05W42HiacswQ3qYzRNy5vKTDYBHMF1jXRTJMYOFKO6aUlKg9Y1Z6CrNde4xrpMILOJ5qPYMTyoMqBHAfiIJ7vXKI+vL/zyh0uJ8A171Bqbu3o4/3XhJzpGD1ZwLWhuP14uFPduJnJwfAQZDlUp+Kl2dLbcsDtG6xWhiZy4mGMum8v+Lxg2uxZ+m0BO/+1WLjsjkW73UGcEELVCnUYUaRK/9XQ5qtXU8GlIRfsLWbRe822Fi1KGOJ1pPM13GEhdm5ynN9InWRl73xx7XbcL1Xm1KM24tYLXmYwEv+wT7XXZE1w9bWJnTDC258seAgrfDextG1IxhEcuWWGMTNFEVGTM4Be7JJcnGrL9V/mtqtvFlyb72OQvWSZawMebsfhrEPE81FxFsbUQrT0PBxoAhAJlTjvQO8Ax+NB82FXahBGOJ1D1W+i1RcXD0QELb5ftX1d/SVfNyyqY3YEHx3BvKZLbvOFckRR77maDmybIJkNJIxdZ7WrO18MM8dJZhCihuqEyu2x5hv1mI3yaiHba7l1DErQiRwoe+UuopKYu7Ykqk7x2kWV8I/qgqFHpL0tfaqHXrZMosq+ekBUSA3+tkzxxTHlsiEYi35U7EyR2BFJb5l5DxM6n0KUxDsNRFcCbPTBnn1jeLmESE3pXJMBq5WiyeVnKf470gbl0sviXwt5gLNVXu2p5xVBfHmtFAYezSk0JwXD2Vxns/I0si2i9G6Huz2yeVjiylnHXIqUB7XoM0sfWXvvkiZaI1Ux+jChybi8qeaHmcCiYmxQcGJ1UgZFBsiMePrgk5Q3a668QI19lwVSeYXMXfMTNFNmxOt/9cwjLFj60gewZjepDcknZg+MoEKOZSFe9PZnLtmUb8dDCJ5In6XOpbv0EsAXRjw3dqx4UMxK5BefAZaCNUZhfRrOuZ+h83TcdTjABr/QJB3QZf1I6gF7UoB5wtS8/tSqMr6gC1LhoRPganlsiJX9hPYH2gbwx9mzfKFLEnOcEJAejXkhQqlZSNwwK7r79lSwailtgb7kC774ygMPCEZSMVCfQRSGDGcImF+GEkHirY64Qv6xONx1TS7K38yo2+ebT2fycU+I04p0+SgmEexgAZxNrZUQo6TQSAyxID7v2zEDQvGY6hEZYJPVLaUbiKdmaGhvz/4Ne48myubt6zSJBWIM4rr+BfcvaKXxThiydK5WUFCMJdD+9VelTjzjxLC82HqxsKf7HaNGqrbpxb5dn/Xa2roDM4BSHypZAyFeIHpA022Wre25XsfoH0tS76nN3ERdrCnvr5cKA5Z7hY5vm2kVoDKbma84dWvOetJyHuv36Y2D4qSt0yzLh3Du4NJWegt4zQ9mec3libC6hafdix4g4cFNTvP7eozqMSewqH6D2GkdimugCjs/GHBlaLXhiTFz0dxsKYISKrJmNK7dZIYtDLUKM9GQbiDnAThaDDJwzvNKi/jLDby5dDbaNmO/GiDfqKbvyKOH4U1OpVX8CDc0LeTXH9sinrZvaQO9sT5UGRNzk76mAu++TcrPElIankT7BspZ7b65IzqKRu990q8fLP8BbOnOGm3PGNSLlH8UKSW0QFzlJ98lTq/CiBeb/hmxJovP64S1UP9NZlxQ/j5C6oI/3pauvF/mgDSaXINFl8BwE/o9P97IJruRMRt4X2pvoE9UAawce/1zMDO+3q/UBLuWssoWWN2TjOsfrdfvYwU1Drymdz8aGdr1FKc75PNd1A7l6UMqb0HC5tLd2LNGVthUL4EWUpzrtUE3kjWOXtwoRzsWfsihuWGLHRhprHm/M60yi5jLlmAv2bC5KZwoSGVHB7QHXdee17tsB4CP7NjednQBDyW5gRRuDY1ymXyEFwZilhcJLq+xaO2I6SXV99z8uzsUc4PTz9rQOq+xs3oMHnmNNWXdgjS0JdIOTfgLmoAvnApVAfyFUx4dPPThhFI7eLj8lETQIbX1qG2gUVWVuAdfD5VDeCp63gpaWXzF003zcLDPC5IhZza6FXH2Mo5w0LLCqYv2Bc1iLyoJbh2+OM1oSPmfYVWQVajXaEfSDFTNmigJ0atjlkdhAnGWIpFHIFlRAiul07Ss8MPIBQpmVJEReCDlg3ogDuNMHAGJb5/oHn1VHtHFGW0wzz+8HUtHHmYTjvauCtoHW9wmhn9/FDQVJJ72qaLfBbFu95lnOZDEKlnB30WPiNi6DUsmGwqST20NpG4R/XdaqGV1q1lMDq8jraVySWpXLJxdjqPtEJW7rc2hbpnUonRewLwO1FR1YqOlE/zFc7BEhjC/pJAUH4Bd9TwtksazZPb2cJgDprwxwnC8YFllyVoP9qieEDAoXFHj+5UpX7DgDPahnzRij++mIXlMX89knue12AxbvYlQh6HRIbnd1+sPkZ98G98NBDuyEk4pW0dALh0YXw2niYjg7PlxHY53Cz5zGUi1r0uYKJpbd4oufRvJGEj0LJBY8tjbYMQg4z0WIx0GybHUOiNOh4uhE5pLVKxQ2jTisq7cDFC6pgtDytqtOS/Dyvm/sQ44i8wcGq5lSihdjP3ogebhjX177+LffwcYX/P9rNRdnAm+2So+MvQLqbIuF/ztNXCHxbshrFNHzhXwNyGzvaRZXzZQQhRq3BTsK8Jw4V9Mwcll/C0W5bNZGtMnh84GGIXaIfc5Ynt+6Ano6E1c3n2L0N+ej5iiyF0bj+eJX4s1AWwoAhC1TM2oy9gz5ebpwEb3MjK7ePS18PwGPloM54GTbmL0jLtpzJL68/3FdafFTLiXzULW5sosLh5azDja00xEDSdlYzkC0wQczsnnWoZSGVcLHmu7q2GHDdIto5uv/4TSJZJGNiuTtpked+IP4JYQlYV3VOYveNajwmf7ZpmLPmf6xmRMTbmfEwylCNL5TfDmaiGC+m143y1FVa3tgv/FnN/7nLFYsOBUsZhVv3zVggh2DeUJd8ZgXT8CDzrQ0rAFcj2Md8izIp70y7Tgc9AyZjxiypARiZd1W2f9rzwZJ7+cQP99iPLpPsYmTXJLoNjZxee+0Za8MsyS0r0vYJyiWSlp4Vc/VXnpwNItP7ICvkDlJbyBFH2QkGTSwmVsKlaoZptGHRDAvzsij+VApEv1fNJEA6tDNWG8T/nKMjUbpzwANG1/yVnQMeZIpENUHJfEblkkL2g/GwFOqm1C4W/sc315h9WZ8j1VtX46LjK8uROI1Oq8l4cl8uSftms7sJFve5djvBfmhfvRoj4VEDkTc//REV0R1dqIIptQLVzh73AmbzczpV47eZxiY41OoepBEisAaTi+6skzn1jkB/l6rPneRjkDARenMbE3HGcwrNMphj4MvjdpEV0FUrhiOc6KV/dhuHuvj9Q/ViaL6W7sJctUasP7zsS+LWyQ+4K7LDz2RJb13D/fmHL/Z7JtYDEVoZbli3SnUT3W4tMpqMUo0Gx7NqOmSFDnEwPOAlgW+BbAFLsEIs+hzXh33qsXVwgwjK5EclN+gsvCAhZm/ETfkeZAkO+yiH8iNQVHz34gAc2rs7fkCtQcllMI+2VTEUITrWCkEXLEYufq7P8flFsWlwwwW7Hn3irPMLgkSrm4lABjlq2hzT83mbkVP2gQoraqugb+NPkNr32YUGDv7qrNxpKduikky8A8758LPRNj0SekdEXeUMDExgedxlHaT9Boz8KDYOf3Vm+bgmIxvv3slJ3f01UDpX2gLtTuOryAJw/LF2y+qEA2jzqwC4cks/gF724uKqcgjuOg45JG/dgcnILDIy13PgGLUU8ZJtJdbTxWdnn0Gd//9lqrnqbjrt8IUOeyUdkXp5kKgcKM2eiYinUcWAcaDjhIy7MCJNxdkcNGJfYWt6qYq9pCqj07E6bfXDPda2+3G+QpTj71SpmhgGW0l/fN0ud9EbM2X1Fia1fwwHg7Gp87KqwEBQIEbhsJa1GtHQQWywW5yC/jI5kXKc2C3YlDXLj6cOx8rA7nJBwLU4yNYc3oK4YvKlGn5G22vCVgK0iWk6G5ntlJGMNzJdWiX4hPfv3O8/h3hEt6waFwQpJuuk0FmZjPZNwWogGhIREW2SaFiesgsT/y18n90wLwW6/H0bfb/eOqbMhKSVrybzSygKC+TZ2ZH5R3w3GWQNlMX5wzAK2BoXx5ccO/2G6AfkdwD990H2NLqtnJwB4blIGint71QM9oM7amHofnsCpFQ41H64lwxkO0b+/rIcqh9OFoN2qIldQ56eJo+pf0GNj0Alsl1mfyzrdj7CKVxhIWW5uDy5BntLTvY4G9cG3Y0tiyPRtac2X9GDYl5MbGDnDZvRBnwhwzY+YCG/wV0CfHgeLK6BWr722qUdEagEyp4wtwsdLhvwxeDi9FZqVGf0w1LZCknw6zOEyfIx/ovCDPOY8/2Di1ShEsaMT/VHJAaVk/XMv7YKgjLHE7FZSzlhYunvW5rQBb/eHTW0ASoA/THSGQmF/PsqPeRYh+LVViEWQYJijpfZ0AOdfRS2KiGgy6l53P/0yp4qAFn/K5b/XNUXjUHxsv5wQx44fcdG8D9p4A8mjQ+1t6xJ80O/ole7u5VYouk2vB1inOKTzDFIxAsKpihQR1IV1mxPT3OpLNqKu5NII/7ucWEP8PEEH4F8t2tP8sB4bSANrD4tD5b3OnKoVITOxbfPl/SKt6rGFo1RZN6MLd9i95+UgsA2GB9uSfYZPfEzhDlVIgWpTR9be0GzJ5u+sBlCxp9L0b9No3x7UWxHsI/LeYBhHj2fdLhEPoYl64AMaSELTij2v7+VM/uEW6YIta4Dzoshx+oUx85Py7cSM/c3UrCLvVKdFEwdGC/vJo5O5sGrqbSnsrtunelEKVnR50tsG6A0bmRY+JXHUtYq6NVhyk7zH48rxH8atVokWzQLZTTiB9BRHnLMvz8w1A3Y9tQl8l2EoVED9N7/0f8wJS0j+hGNLa/6hSDOIfSArfWRGweIeYJKvTbDpcHS2P0u6hEUTWbZ49VmtpAu5JZxew34/PWsStRp/sARng8/o7qJB80Letn3jWvSTzpBh4u3XKNRgCG0R7N4ycM87GpYXuz65zzfSMtC3jXGQ94BwS0OJIssqdHJj0dPyKYL9GAX9rej3DRJuKoSKSrcccC1tZR73B3cMnNTlY5+XMiEt3zCpz0GliADSykUPC6Zt32GJNSSuEbvhMG+vvlJeWvJvNvk+bBHWeOjugDArrG7yxXHNmEPg4fXFLwQJcYXqiRj4+t80X0TGbO05vYrpwEGsRD1wurAGQsNLNqdwfAfaoxoJ1mn3ELnvsBVlBVxlbyuJkVxzOV1/3wxzuKdobbxeFxfX9/Nd1x8YPfiHzamNA27KTvbR8xwbbFVzoaPOHsR27nrjJezk3eWYHABpCAWPwkFeQKTYlECWs1H8Eo2tthMJXgFoNaKkodwYv9d+Mw7uc+/idJpO7zsvu2DCQxCTGp5kGXhJd77+TcX8VkJEN+jNxjIxAZAPfeCuIwPYQbPpsKlA55bCwzJakwkypXEkLSJx1i89sR9xSFCyYcrjzPNXgOGL5Y2rXyyAL5J0nZx/l9j6u3Tu+Zyc/Ojs+HMSFhkDeiV4KHYPRd40TzrM1P3pQebN9T2TK2B+H6apL87hodBq7CNXfZs1Ld9pD01MV/5Cr6holF7pklwtFgDAWEPWD5053mUQJE9LwHIWxu2uaPGDeYv8WqyoiOO/tet7p7AUtggNHFEFrUUjXdIvo2RHY7GMXDVHWXE2QtFssdCWtVMCrgiY+Yte5C1q3gNvkeS0Ho74lLfwP59xqj1oHV7bI3VqCeChxZ75I4JiyeSEvMoW+Up2am3IxLaW9yryaHu9K04Lh3GDCcygWXH21iRjkgEw1itwaYYdlddzSBdgy6oea5gMoazsH/NWQ5O7057wdfxkfmOqkpnRR80wxjYLyDz126gOzMMapqb9SDj4icZAojnVmNtMxqmk655q0J8dAeVTmwYEXvJUnl5P8aHl8j6xko4evzybEojIaB6MZ5biLOqauE3pGvmFuHR5Op/zPMExWSJe8WIffhAwOJSWF7GYAQURYwuCTLQVKdV4+jiUsmdLODY9PxWH1+uHaegIu3lSynB8GBk/+KwZ0M0GbzIltsjP78jKZZSS+zXGXcLnrUPcJjUlniuEP2Mix7ftn6w9DxHIFdM0LJXnwVcMck4+uteEDpWaHIPM0dmzKIeIc0o2yDJkXxXDH6RYKi4ZGO1Yq3MkrBfoHcrfp2+s4SEfmiTEQICneDp1haOMdJZKT6z34EQtchQaWdoq0MFqmWxCBfHxuQdyR0Vo446BvNLtu49n+V5kViTwC5I8T1ma4OnEC36IqdXGe9PttNEEGyk4XDJVkdSWNpZ61bNkOQQdXOy2dMZAtkyiaCEJOLkRxkcrxUea/ktzPwOA4FUsAPb0UCrWJECghptVPjj0bAjYuDnMzZQJYfdnsdiFtX46IaWSBhHHPfEPQN7ewFtPszviN0JM0lKjAHsLKp7ncWcjT086Hl2ryuj0gJuzr0tFp9Ao/AGCRpQIa8cNQvVUYgg8ccEYB/5NjwX8GVHiKgKBmc3bP5rKVuVwtty2PIxmL9ebobmy/CBNzt8ALW9mB6huCWeatrh40c6sBpdCj1P3b6UoZ9fOdwRkeSgwzI6XT41kWXrrw18PJG5nyEeLdHXCgI5XQNhd19T9H3nBdXqNb/N8hyRKnUwTYXKSAq78tVDuS6afqfHk4OUY1vSjKuMNnCBcGoi8qPI4XyA16SLQjmakL02fnV7l3O9ITNESgAEXwAatYiBiZfRGh0BEwqSeXKw8LqpmNVp2AcE1HIVSjFG8wCBSLIz065qIHIrpJ3oFWFXw/NYjj8R6QFZOUR5e0piFuZ/qj5ABbEWc9yebGfzTnHqPHANblTiF3Fi5KfRzuzqYCPq2lDnKfIpBpsdcCZzOJ6Ysf/AzhR9Qj1tNs94WH4XAhmRIHshj+p31J2GoNyK9UJwCRd6wHclosQbCcOpSJeogzJtk1W8edu01PnB/yaqERp/w/fx+QBE89EBqHeT0J7/bilgyIeOnhcq+VjV9BnDj5wihvY6LyergQmBzMoB938iW4ysXrViZtjGqh7WKGSthMOij0odghneV53RMvhU6HaqVrd3itOeoOFlfSchWr0eixn/SHOaG1fAj904WLubgWmwP/n5ecyrZXi63q9zY6Juyym7o8QMD5Cgzp3Fgoz6wbj11Na2BI3hqeDMs824Exs23WKrsTJeQ7YTW9vtuaweS++Zr5a5z9zpsxCMKzrFrgIsse4VXEeDkogTJ0Vr0vCHO2VFGKqzC2rB20N1zIrETkWm7WvH4b0WD4JNp6sG1TUGsOU4IMX6HAgoyBtGAfEUJvd0THZOmg7ZN6h34bAO7erIF/LG0kvs42KNeJU4a00jqe1iGXbXzOUjzK+1FMO6A28AfMBWiDqT2XXyEVb7r8uqBKyjvBx1AXZidWUFy1HlC3pY19CX+O+UddD6GrNLgCg0WQvEoStX44UROERRrLIkb1B/sRQkd/zveCtV2VJbrCl3lY+J8mxbwuA3+GdIC2eoE78pQKRb/opSuDF+S3qEZIrd2SI5wvNnSYzm/oVk78kccdiplPiRTKYPiGsISffDiwrqR2YXERMLockqOwkYz8ElqyaPSSLECg79k/CLlJIwwcG8Vh24mu+v5gcwv16NJPf6PgODh5ttivCLjN6qHHT+VVgAZaWPYFLx2d4/NEVMZYHTajkp8U++izy9E2lrnwd59C2SUeCl1pfONE4QLIX5cj8MVs63KmzjpPx4ZqRNNEYQCr2qZwAmRUppIQcjuMKFNl4/VLcO3T3cEaPhjlDvGuVwkCezmR5om/33EgNtPJrpZegDB6jmtW8r678CrSBBEB5JEIHDMwWOLXSjfmh99MgdCwaXeL3iN4FR/dVTKcYn0V8LoSr7miQVaJkC6kGQNvWOrUm0QQS+mXqq/xIRGKxdoN+RsPQx9KUO+ZvT+O1vAliq8/lzYsSkpI4875B2WjpVUFj3eJjVrOESVwe33Z2jPPH2QzcubdscpqD1zyMx9LYyJpwldo+mXo80xapTyudfP5HeRsjkC0p+AWxAnrvYjCe6/4arKX/7HDo2iG2+qA5AjNcTD4cUZF8jP/n5/aJeSPELywXBc+7+nQpP8TcfW41hMEWNH3VYwzufPPQypgBXb5G941FB2A5NDCXr08yoUwt1tOEJuUJBOtG4xGSY0WTAvr39rS7qrLHnUTTU9/RxH65duzFV3dW7nkp0Bg30lEU201NZ88ZFlFTuNoL3PrAbCQa6OIdKtNnyoxR9WgLkRybirCok7IZvWLkOvaGdsDycHTAWa6iP9mtgaIfiHjvo0K1ISoGibWxo1Zp1YRphvqtKpzxanEvzrSeuN5yzgB35iVBHScfSi8DJpK+T5kkgozDdgKbUSJ8mTrdL5ypzZP0URpNtIQuUVveXyvGXDdWhJP6IWL4gcFZcBmnPs1CttDKESXjrD+uHAnB+V7SF7kzJf2GAPRPDBevk9Xj4Nl3Gn+5XkPE+Bh69pgiE0HKR/3KDCzyBbt9LLo7qLFDJwLp7HXsjttpoATKfMkNRjUen1DloYFMZY0JDp5WD7gDT6VVAj0k6WWK3j9CRfkdEV5r5ddKrBLOHM7g7zAI7QUh/3/oJ79RR3W5ChDSjFbybNBKgF65PpG7iCJaxyItLO8MGXaHcuxEBnwO3L6mbRESNeRoYmFlgdt65HFn+r0A5yqJETJFY1BZZhcUTdiNrmG56fyRn0p6xz5Egcvvs+Ca7UeuF7+Odq6CDYdPNAoRsrWm9EphvZ0+I3Lk+wDJKyipzwwKkeNuspB/mEbnuikc59sg0I+hsm5tIxqhzIOu0udw6yIRZr9c1XzZ6YrvuUALEP//SbT6LV+e/I5URVs+lWJLHEgPIkX3VSrEclnCyuY+wvG8pON+P2p36K7HAZz6n0nQZZjaJovkWN7tVJV7NorEJcGw65pIIHwAlCynVyk8YtAGM7KE8o2ZeJToPIqd9AyZRVX0QHWO3XUiWQIknYR60x5JE+Cz+QcwtU7Qyd58V4krcEJyWP/jZbfl+sSc+UKtLkQOSyW8hLv8/sDdsskC1rcEFBbPfYvPdt19yNgX9c5IZ8HNjKCPnJ8Ieg0SjNWJIcJwdOCyfx+NzOwi/HAS8HoiA+bp/BfjzWuRsXDLNyulpbfL/MhKv4ZcTgXPnEqMWkMS50Zi/oMySw+UPFoQ0rx93uf32JSpnErNLpa7uBRR0HLdlH/9D4E5dzXDeKdQG3nKV7casslToznGNkNnkjJHdXlIwq6qglaHrfbUr1OPnk5xuQOqLxyqyPVpgZiM/mV1aKypnkWi/wET6v0vX1m9q05hYTcNzimiYsvR5UCp4p4fJ3vh7ijnvSLprtO+Kva5oiQ20NyxKUsNmLoYCm+v25SRzR4xo05NQguS2lQTz47ODaB2FC81YEdYc9cC8OgpF+AVR0Cq2Zz5f1pMhOoA/CeQ9ohDR7OpaiLWSqCeghBDP4T2o1uPtn7Im91puWsKCLyMGRW2I0xYHG1vamhrT3umMZ94IrFO2K87lFu3h2KePr+9Qlk428ePEQmTcPM6Lf9To9CDbraD56TaD+ZroowKYWxZVATfFwmyp2StweFohVokLK0xyb+JHnuLIZQ4DnA09FPAdr38P1DVnPVtKu8bQXusO+N81Uyk99sa/5u70kcZU4eW/1MxyctZPfgmw/y4fPV+vkrLvMafPpoQlPXXTHMXIX1vbelTWKwBQHkyKlnHNc6XM4cRNxdpSzDHhtOiUPthgODHuxBJHrG0X6BEnvK5NvfyX8on3FvkwdTdEQs4tzyLBd7BAPJefg5+YvYFwJdtfhafdN7qElMnrHFp44BS21fWMfis1V16cQmzxKu/yeDIIS89P39DaW97dYjoJL/9qnd+dw4dDvUZH3q33gPY28QZVVkNo7dViaXaA4O61eKu0Wx6Jjt6U3EM1ooUUWvzLtveOu7pmxK2FD8H5a7coTSMNN1/y/rAF8icZCPWYzfbblvL921kKe8o+HjIQ35aVTs6tFcbIm2uaI3xqvl7VIX+35QRXGENr/dA3GG2Dl+tJq1iXxEwYOnFnkrRb7///HbJNm3lbcU8fpzh4/0OO+u9xxshhzgl7mBSpzrVNQzIh8z2HZahWzADSdQQGYroq7r9I39iCm9/kJUG5j8MS+ZHIhd0eTEVt7gEh/IW26/+wQhRdVxTuhOAWS+JvipADdP3XtVBNa617jfg0byj1nrvGeBNWRqen0V2ULIWEiPfxgkjzcATBxf8sAXeeRY5BZokWR1FWDyJa6UNzEyFKsnane+ZGyZ2KSRSxgaM+OEl4GbzMZAohMdvGH8OS0wtnmugYcfr0PWxDJC2b9gJAo/aS5nRkwFenl6Q0n/H9Yf3IdwKCcil7FvFLe4Pxbis0hBlf6cjQ8S0C9hgzyQdRIlLcVe77Iz+mIgVyfjmE1aOvLpZUUW1XwgJ0MnjW0UHASQrAO4JgV0LiUZh8GE//HtlXlkhHpTNSAEVivyj0yScdltkhKDiajlkqptkkzuoxzEbAC6dlXF/0jODABJW1lr3NG9NXctk6StipX3VKcshpEm/psumtT9bI+X4WU3Z4KZsZHuE8oWr+238sU6Ul/P+DAgHNBNHovb6jPyaSSwgqDg1bb12mVYH14V38m0L2SuyTQj4cqZlWKW1MIK84sby2PND64t0cystsCPEzfgld3DhkvOyQim1whKpIvSuMaRc2iuIPIPJ50703YqkKtBanlATqQNx0SJvhO6OFlXW9XSmcR5YLq9jwFmA43d/3y6dutaURo85GRsNEWGSD0gexVGSQ/JO1bEkYgHtjdjPeXjxzLO+PoWWWC+BPVavi3u4v9rIr3GIU04h5xBfFKx7HNJ5W+wR8E33Kmwx2t6MQFmkXJHmucK6EwgJ2uJZ9jVGKepuyzFqRYGrjuAIFk6GM8sNavrABQn3kf9TjwUCdmW86WLXW5kAXBI/zgcUglRF2FpmTkh7xeHfgRNhythhEnKrNj2Qq9b9UGEO5leqk75/8UKTM8VQ/AZkJesddZ7Sp+VXyyVqm3EUNzR2GeQkqXPnw/ehslf4TEdDXBLic3JX+G2xya25OvVBG/6OH/8lI7pdXVzKZOjkLxwgEu0/SsaQMYb8dKxkQOvC1tuaePBapW1Vb6vrYaGw2NVEXLh4vk9bN6MI8SX06jxAyE/UvDKuSLUQDEYTejbZvGSfCmGv7R9X91V4gimPRfP0wc2xULangWVnPY303k7xP90rlLddkHfgacHHI5D1yFz+wsdBkjQrhvhpkl0iYsbTwj3caonW7jBwJo4PCiFY3zE0rZW/mxTGxFeCefcH0usoOuepEUP6OpYGY35dV9CnItJTISdsGmCpxQj4NPV+LAHvljJ7jnTDDadY/1mArCE6UjGwBRu0ntMpkDipChGGc3LH+fcHIcTw+C+MFon5Twv+tYO6O+FafPOIZnvzxtdWVr/Tb2s2OkxmNv+JTahAD5005VKeUzDlZuA7vB6AuOH85AIZsbxjgLnbYIrGBAoH+xB2w0LwF+5Z2i117udzq0YXGHmC9ud7Z1fF49kR7l7DWOsUbu9R3IAs7vXFbPEip2CfLlUL2tsYoP34sSt7bPQsoklzHYauqlXgzOYzemZunRgFvhSIBiCA30ddejTwsmOi1XzaB3erhr7+PBQuqnJZhtL073ZRCAiBEQ7GortzHGuAQJzeWWDnG9AS4kxXe4ZUakMehKH3usx0HYnoHj+u3zAzGmS5jIi850NjxQH/DRS2Ud8hxDat4CN9uLwPVsNhoeR+aJVJGj/OqbDTRUk0FJcr9YhWFkNzT2OzRIJZcEQVfc/uguGLlh1yvp1hi+ySsc00rJ6RoUI0WTGrrvbtY0aKKXqyj9id8qgU/G8YkcipC/LEZaODUglZmpuxdpJTE0S8RtcNzXc8KwIszIgstY66ol+oM4lzIByCFFblKB3oSEfU1v5yXytmQ+zTAUgbFxQZkhnG2RH5RUWOvY92/fe1DdxyXPN0dgH9MQiOMQiJDpDO+8QhjORDBfOb3lwk21l1Hj6cq8+rvhZtKjzqRpAGs5f9krf34uWBzr19Q7vJ0HkdPi8ubSwzpXrW9uWzyVKNyOGvhHLakzkrooYg9g16W+5zwtZU2pVAc+05PK4r+d7Isq6zSb8TNYy+S6JS1MqQt9DspO8Ofsyh37vNI965PoixArvu2ffNxSCMTB7G91fM/LXv9xOaGaTQwYvCqmoGEc0iRJIamMUWFdEeVcILXsde+fP1WQPn0FJqLKXKPOFLugEM2PaM73rUf392XFpkPE5ZsJ6RjdHgkw+mpcWWj3eO6b2jPFul3TRPE5FaRlwbKRbx09ydvi4MnI4EvckbddDAyEo2U6n1eFKEAxQIlbX/9KE4fZ66uoLkNV+37/8Htr1EUdbkHDP3jvO9pO6Mgqay/B4DaqPNoiIIZWNihkuwvO/acAyTmTTQp9tH7UeGCVHwqHo1RRhUp5PIkdmcYZbi8RDbutnC4jPst9epJ6hgyNQRwVd7GZY0VyYFkNVj1iPlBKPKiyo3gfviOmXhWvTRy0yp7BF4lq6TvJi" title="Mekko Graphics Chart">
            <a:extLst>
              <a:ext uri="{FF2B5EF4-FFF2-40B4-BE49-F238E27FC236}">
                <a16:creationId xmlns:a16="http://schemas.microsoft.com/office/drawing/2014/main" id="{2D4E31B7-CCF1-4E27-95B2-28A7301253CC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7200" y="1698210"/>
            <a:ext cx="4136666" cy="4876912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7638D7-4BE3-41B7-AC3F-7BDD3B5982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81940"/>
            <a:ext cx="8229600" cy="990600"/>
          </a:xfrm>
        </p:spPr>
        <p:txBody>
          <a:bodyPr/>
          <a:lstStyle/>
          <a:p>
            <a:r>
              <a:rPr lang="en-US" dirty="0"/>
              <a:t>Racial Wealth Gap in the U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AB6F9246-C2BD-4EDB-AE17-C932090907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1192657"/>
            <a:ext cx="8229600" cy="685800"/>
          </a:xfrm>
        </p:spPr>
        <p:txBody>
          <a:bodyPr>
            <a:normAutofit fontScale="92500"/>
          </a:bodyPr>
          <a:lstStyle/>
          <a:p>
            <a:r>
              <a:rPr lang="en-US" dirty="0"/>
              <a:t>Black households have 153% lower median net worth and 26% lower income than white households. They are also less likely to own a home, business and stock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B77476-556C-4CD0-A288-CF5E4597F08A}"/>
              </a:ext>
            </a:extLst>
          </p:cNvPr>
          <p:cNvSpPr txBox="1"/>
          <p:nvPr/>
        </p:nvSpPr>
        <p:spPr>
          <a:xfrm>
            <a:off x="438234" y="6489709"/>
            <a:ext cx="66645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s: </a:t>
            </a:r>
            <a:r>
              <a:rPr lang="en-US" sz="900" dirty="0">
                <a:hlinkClick r:id="rId5"/>
              </a:rPr>
              <a:t>Federal Reserve</a:t>
            </a:r>
            <a:r>
              <a:rPr lang="en-US" sz="900" dirty="0"/>
              <a:t> and </a:t>
            </a:r>
            <a:r>
              <a:rPr lang="en-US" sz="900" dirty="0">
                <a:hlinkClick r:id="rId6"/>
              </a:rPr>
              <a:t>Federal Reserve Bank of Cleveland</a:t>
            </a:r>
            <a:endParaRPr lang="en-US" sz="9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605CDA-568C-4BE0-B3EF-A0342F7BCFDF}"/>
              </a:ext>
            </a:extLst>
          </p:cNvPr>
          <p:cNvSpPr txBox="1"/>
          <p:nvPr/>
        </p:nvSpPr>
        <p:spPr>
          <a:xfrm>
            <a:off x="7073326" y="6489709"/>
            <a:ext cx="17256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hlinkClick r:id="rId7"/>
              </a:rPr>
              <a:t>Learn how to make this chart</a:t>
            </a:r>
            <a:endParaRPr lang="en-US" sz="900" dirty="0"/>
          </a:p>
        </p:txBody>
      </p:sp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yQVjyokM7xlm8PFv6NJ3Ll+Pd0t1RM1iWRMiTsCLr+UhIBvjywlwAple2qtJvWKUbSyr5NNeGskRUvQFHaRCBJ3dzesu0anvzgA0qGEKPwTFuhn4a/Ef6tv8WdokKfJHV0Zmoi7o8JxIWScKaTyFTG3N+7SNMN/Lv3HJTT1KPdX2nlRv84eD9eRunTh+V936V98rM67AmjsujNPsiw0xSnLrvzbh4bxZ5jUYK63azxf42wLR/nYiLFAJ43ENEzjZtOKbN89MKz7HYKDPlnAB8fQBXQ2NCldW6kuvmy38TlBlHveq4eEsAWrQVk1pZLgEFNTSfrbwFgcTCXcSzCfLlD33TvGUAU9zPUcqnbSyOT5ajqAty7dnv3c0PF77bYnzOlmFB1MFG5zHG8FIEH3WiBOQgRnZfKOinwuMZhCUMIoPempDh3EC34nSoDa1KPl93YUwBHeDPWOhCI9QOkrnphjjhGOT+a5hjdzSER3iAQN7nPqibI00vEUY6tf/v8aTSehzXVtqRS77GoafxPlmRja+5ycQlSzjrtewnKyTrbizX6J4U9iadWtK2j8AWDlh0tyz1mcYUevk2znrRLhaouiDBulw7DSlMF6StvWkJ5xdJQ0jNjS4fKXMw9KPnXueirCmg+RGLNB6ENJK0tBySSBWz7vsMG+/g997N/dJEIQl0bXZCwd6AXM7VJQLF75lc9CFaZ/PHHeGbNqufxq6eeFKvxzEn1Tb4ZFRjytkQa5Wejo7uHa0vp4XPyTXIN+QKuvfxI8hf1x9cNt+zh/XXd1HBdgAjJrSdOGOi1mnfA4zlDm70YTZf13Gvq474O3EJZbJRVgzHQJ/gjTljbykv44bZqPSKHHon/Xu3XGhdrD5Ory81G+XQBXuJCUgELyKUN5EroOvFlcqtyrjc9cFREI8L1MAkJsJc0KpukFJDptIscJ0Jfyrw5cD3WIwVD7KsCuGRzahLsh194dqF5DQKIA8dr0VTosWhiIIzkUog1DZU0eRYZ11vtfZ+9p7pvS2SydUDqE+CyeYRj0NZj4yoO3ZOLa6KHPlT26KuyfxnbSIzVUIY2dNT4DnOlHavd9T7PsfEr6vHua+HmaOR42o/9+DqVh5JifxYjkL0+1HmXXChyInjKH9jt6DKLgf7cbtCt6Y64NSVhCRCQbZorb/woeqO/1wI0komrcpGTZLpCiGWPiwos2h/FSfex8nGE62KmMtzwHXhRr4oe3b3eeuoF9ZjwTGurDhbG8wHkgnMHgIZ3XeeIeTb8Logr5Py1hF+287CXz+3MLNQr9HCGxVYONPd5+XNvv3yADkjdQdCssJ4/KYmBebGTRkhbMkYH80vjVU+c9bZf75KaIBLuMlu5bEEvhxuu6rrupfXpDL8kwySGw0p83hDmwXZ57GY5yLqEzt1jK3AzddKiuqdJaXzlfFQDiFWRgH2izsGs65OnE5BGdgj+IvIbzZURyWprB+yFK98Lgxe8ThuZFjfDaVLV3TqXKhO5qbOfwGGoWp30INuXuii4Yz4SHeydfIPCuD+64Mq1WZtMPZEPNANc3qPH6gq7LkmF/+c/dNBNXgUk+bXAn5A1cG32I5ZgigR1u2qLq+cXrDxsORABOUFwJwmrb7pauxkFw1c1u1S/lXWfP99GvZgTsyOTwkGl8LMDnDlQ7MkEK09SDgE+6NINbH86BOtpbjJt89BA3VseWlIDfbiNzqLVUMncEJgSZVWi1LAOYKiz3IyOg+jARM2mDLsL6w/MAkYsAjduTgZirRW4oB/VduMHh+Xl8wDq3FMmEmyZOhYl9YNw+ljgy9Uk/JPr4sLyAaCHX7fuFd2O0Bf6T6VzoYRyJK5rUyVsAkFFslkTjvS7zht2ESUuukKwTW3gZNJPsHzCNyl+PEv8E3CRHSSRCQdZHYINB5kX5YViKahU7W08YvAhuqiaiXeaNib3dicpDsSu8NJon0mifgwcftUu8a10aGGadt4j6jNTba4UZsI/pdL0IuaYwZbTpEn2kClUAxObS8yTFihlOhHhTA5H/p7+2UsorFOG1MgG6c09n0/LswyozZQnwqKelRUcy+t7pM+KwApucl5CB4HHKecCNSBwvXToyp7P1tf8T6ZuJGo921VvJj+ftx/Nr7lOnTqrPGPgpClGS8VdZJJI8qEJHfiDovutlWRxVUIDyo5xCadUzmuL8VbijYEczdRK50dfH8W2yDFSKFh2LjeKfEJBGh8O3NA3QIaCUD+6odQdXr/DeMEetUWhTRpTz0CchsYGT3Gh7noW9RQUhon7osXPzDhmBl6W6SfQMo5qz3lNN4snLTL+9rNALoCPu2flAboalK6YG5vKMmdIZSvEgK0OsZQn/pGdJc5q/gPFc0ZL7DIUzP7Fqe1+Uj9zqTdC/igtdwqcRcKI8qHDo82Ju8Lhb501xBKOXvKOpZyZeOPjuiVENMy+IrrnHO2xLY29nICaLvm32d89xStLOY15ZQcRNSkvZ7pdqD2WaJP/1KCV6vHU0PnM7OloqifevuPEiT28KjtROizTtLtFydo+tn59Ih0N4OLRWMVILNH/zqyOqg+SvMLt4JrLmDIsYNL8VaWFvdLxR3VmZ3MEUzcPYPAoAz9vDutMhnkSnp1O2BfIqAwh8NsD70Be/xmUo31Y1LLUGLnrJeIz2CJOYRMDV+eSEXDizu4x6ryp7wBhHqn7ssONpIFfzy6w/KfWxO3oxbUMlp4Dpzc2Os/k5eIroPnAKyzKbNbYtaieJXEqsGLCi8uRLrBtI6d+PX8Ze1GeZRdjvFW/4HyNZCqbC/8jZeLZKOxY9jl0GcapnVGwnvmZ0JZJwTI7OQhD9ibuYEsOfjBz/JguSI49U3cqOa0W4UcH1Sz5uPWO22+NoO/P9wOXzjUos5TBVDE3w0rM8KbTzwT0GeuqQelMko+fI5vOCEPm1g0DRrKNk+fzj2T7YwrwtPwLWq7s51vOCqUwKOIGF/IdzdpLseDF2hpONgmon2QCoPQ8NFgyPnvwH7MmJ9GMFG+SGXKlOvpTAamv2OwD6WeI2xazCnv5MDa/UN4t35VryZ05uIyLcowMd5uj/E9uF64y7M/9vATmta4pKa4F/0miaSEIO3zZdJkHXi86JJE35iAPa1td5QzMTWT0bNRXAHoX9terEZeDFljNX+5E1DhuGXaQLYCIhNojL2L4nnlY4oK81Pwh7y5LqI6d8BcA16obP/ckAYMQ7P1QJp2TPSe1bgjm/7T+SBVAFXAdswC5vRwd1OAD6Zg1Qje0DAohDGc0pKREsSaJpu6OuS2MfQMeKGsHD2FfToTftEO9/Uq9DolPwaYxIqEWG5oOFY/aC0inN2ad9Upfmdc0H5Zgs+5NbCa6Kg3aHOdAv7g61YCqXI+9kh3/KglWT8eOdHKRJaBQHy48ZXQ6yaXqihXzgBlEA8s3VcFrmNznfjPDED0kCE5eTR6V1Zu9YtBpen9Bkpry22eLcBBBDvY+OTcnW71E7pgA13r9Zmt4mrtQWr7tjDn4AZCkr5kC3U5CQVn6xHIXaXDFIK2B6KysjPp4FuBvuYnUK89vPeUv3u9nGpkGj7Majm6K/TvetrpTQklL5puap+sAbT+t4jXMWH2Xn0BfiBENIZcd7FwaZcyRdexvu4sET2RvmtYUuRi5KYFCWHUw2aVpBAb1HxoN3EZ7JGm3CU7RnizSbUwiSe2587dsqgMT8nolLsAXLFTo99icCBlssb0aOoZd9EQ92629XVfKecxrtOrz8JJQMXwH1eKYPSjcsuVmDbAduxJpKKhjKxxMalGJ8NYTWl2VDHbcejxv+6aLgNoVvbsu1cRziA2P24U2urmNolNmDhgE6WxHn86yFBw+MoHU899gWPz9aq2eDZuISMFqXNk8l4dcgtdgDnGElERtkYEP3aHp1xTqbNnp5Qfl/XD+GZm31y9Y9gxQTmktStw2lpyNu81s6pkzPlfYHrJn+FhBxyFIwi+r0G9MyG36e6Xv7ae4399PCxmp6VgsK+nlMnHbhkwIoXWCvBKVqBEsUWuXfH9hVcftXprHedoy9UP53UevwE156Z3PbqBK3BWx5VQkzncbk3sd+qpTCUFcVZm9upivNSfJNDh8kV+7NPgtaUoQEab4gxEGi5wfMySbPwtH3P27xE5Pik4tkfgQ4pbwR02OQVhOKTCKRJ6r5hhLpNmbw4HUeYbIQb6aMbGD3POGggUKMCwiHDvSnYC9YPYesBkYs7DetRbjBqixLeeviaw6NsUgMSNLTF27lD8Zjlcq1J5QUvR54+tZaHxO1CeMRTXv4cB7snrfIOT4ZTA0SlG5gPNHyV6F6/yyn5IaOV65iNK3HW+jnHqLGk1UjEzeyvnzrv9oRyt6kyzELcVQGNCaPzCMcuI9dHtnK1LczqQqlv7aKpUgJZR85U8AustFjyQ2cKUdLdlpLO/tlt3zxX1A4mWXgAxjiM+FNKTgS/Qdy4wyq0ZU0W/7iAV3HSJnkwTyGvx/4eOKSLJ8yYUlJHV068CBgolhhUcBLqWCfQo3vrYdzPzVfZ4mQUNeItdgwxL2axiJY84LJx8Acv2llR3zGnpO7J/i9ckkuuhl5SD+qOZXsE0hSD3CSEjBOWDxFrpdLv5nsT1hqUmc0iFonKkPDLrPpG9oMhJE7bDZ86XvoOAyQDo2j8mr+jRfwufjiWkZhxZQ7YdwE6JZ006MOV/2oqHgZfDW2mSdlYm+qTIZbyUxrEoamaojkKpmf0p9hAMrZjSML2DkXcF/+pK6uuK/FaqqsrKINJXQX/uVRzhA/vIZz+hbhC/dylF1cIvuzunGp0r2lk2vdSYldh/fcrsCfoA2qb/KFReTElJsQaQzdruIy69hwu02UX1ZnAQtSpFRX0vVBCKaBUg/e4Q9xwVUxIJfXbvRe01GGEkTQaELLHSl9PqoArwMrPoHjBdp92Wc9q9nVQmBfUJWCZLXVqJlqnC4g1SmsskauDq0bZQh2QokYBkNmWwZ5Zr/yXg13bWMee/DDW7+EAzbTGcm/QHqULbm7TkrZzi/gxpI8HT1nkri3PmFPSdxxAoA8XBpqps24StXONGLGDYEE/pkTbdya4ezOXxKBvdbIlfFfvILPpOtQLNb8Ecv4cZJT3XVmkg1kevzpOhh7WZ4+/o5JLXCMysmGSi762PmtLnAEkN2PQbcC1gSAZ51OapP2PuMzyB9r3Vq7olVl3ZNg0AVf75LluHxN/ID0VN0EYUKocDygNiNPBy8s7ZsfSK0OzNxXM54hE/IMem9/Oz7B+cickQiZz5Zbud/wHb4NDXMCOsgKm//0DvgqzG3yboPmUsmE4oHU5V6gaDg3xOz2ZG+fxjWDGGEb/P61aj4IR9OwT1Nt7z+BTttnkt3Cxu5eT+TebIg42Cxq3WQIgpcDbn1TIWLaiie8p2WrwaNrOteI6OG3zPMnt4ix8b07dbW8UOeM7ArfrAGHQD9ngVes1Yn+XzpjoIJmgPC3cdY7vzJu1hgo+EiyVmykfyliFWRpBIuWnWogEdRc9c02DKCSzUss368wA+l+WppCP6rFyyCLs76wd+ovNh6oks8uGmN0vYtedqwCPrBBdalBk/BjepdOv6zwNjmtqCfLdmZhoAeAeT+keGYim+Tj+2R48t8BvVunu0sQFC2yD8YuLDv80TCDdnAWkgu/fnWWTsJAoI8Q41Gdgfyy/5Bo+1xB3oILLVRwUjdFJidkhYIYKB1GEgbJRgkkW7bJoSixn4aAMB+VQHXIRxai0FXlalC5oCbybvU8flb41Bu7wUgNrKYq1mRH6y4Kusq0WrSjUD0VxE4OWtWVWP8TXvmGjRQfR25Ch8/Qz4EDI51bsBTZ+R4/QjqVqQTUHNnZDWvw7gdj3WHrhBZSpw6dXmt/8bfvVqGENNhtQKrVf+5typwVAzfFZHXhdjDEd0jINhpxfBpmpBzOfnG9uIq0wVlltCP8d4klUOPKi0xIn1uv+M25P95B8EtwfPLIKP+uVvaE0BnOBbfKgEzu4RMnz0Ad+AHKdQNIJJaSQRRyFpG6y0t9zIophvMtXG5j4KaubUTum3qSxZ49ZC/yJnnYYveiX4tuzXkgVG1gsu87Nbt8nRUVdLUG5f/TLsfxF4MlaprqbCvgTvzhhlrMJWDxQE39u2xiAB29AbdqmsvZvwAZ9uObbOvi4FhmXXXDBCK+x2mt4J4UC3b2BpcGRVBq9DEcOPgsY70nccSE8HXRfeXFWeAMEgRPpKXDWmrZkSQ/z1+zzlvzVYsRsQafvMqZGJYHN+Tk95E9uia8SaYZCCfykh5Kccb+lE5CBHSGWNO21AewagxsXqeUfJAz6utDj0rXG7Bqb+fUrjpIa1gl97yimGR2jjawDffIdA9N/+0YSGtOvrc1zR2Vt1Q4WYYro2gGw8KdhjKNkUueFQiwwODJDoEO+9j8HemsAbWfRQOi0eyUCxy/cC+VJZO3g/OjOqPsfqY2AUcrfas5MGo1MvtqgTfhCYsspylL1uibFta3YDawVjmTd5oJR1+z5pJrbWWq+pQLQVEsidWO13AZromI6AsWJOL/dE8ird9uRPZuQr7z2VuhCLwZ8y28J/p4Bjh1YVcaf5AGipTahCLWeEggJQtXOXKsY+xzeVJskMyIFM3PaaR+LnYz/DRz6D3cyHrMRQn7mgaf9iUR36eWeq15pwv6d9M44lknSptDct4eMIR1NWZG9cZpmUz4Dm+C0p6sgxTX/3IZklb0kMO2euus9S7tSi+r8o6A/0Xd6LTKXeWsw35Qwpz7Dty5d2HTxjfRuylRenuxvk4qZkCR5oU7TmiQOHXXZmOiaNnsqcE+Pcrvlsl3dSzlkCTcEZRK11PC30Gzpbqj3EndLcrlZt/gz2kpb94nc9K+wFTQ70Ff8jZ5Phi2KHkZztM739dsk7AJRW2btfQuqiW12hU4ETAnOixA61X8rcFzB+GZyk3BpWAtkoOjfvLePbNlddtSQ6MvHOK9sOhVYNb5fNN/cNY70xG2YgcrPynBsxQhlSBS2T1UqOjxY95El5Iz4n2I7IAm+ktfqQfXmHwSPBInkYVmKxWJ7mTs+qNqK0njCdX/EFU60y4pMtVTe3X2F/3GNCrrum3q/+Pzw6KJGIqlewbw1djK3KqU8yQjUWzbQnnVcsVFH6pHD9b/s2MCF3YhE/qeeZbHsNUV+UFA6rZAT0oODpjXlwYn/js4YBDAn+Ic6vsg8gp/d/Jqe34OM7rPvzy9c2u2XtquVOpS1DFz6CUsGAvOR3DdvA3jcf5Ir+H8qKBxtDHZt07lsKwH7axjqQJC5lkhnOAdtNZ1dSLbb6YdeqFk3VNB5KukFclTbr6UOmSSkjf7oU8hiOu4e4kqPA2iPYWZmL46GEh2vWZlFf/G7/r8ekjff7rT9Q97sS3M8axOIsIUroCgXfzGUGlzxT/jheGbhZwKngopuZwY0Z4lhz3mL8EAfbKpz668H4yUHEDED2f6rSsnfm5A+ZJ9YemcTZeN03P0RdDiiCyPQLVRgNmbbMumFBIAklWIKs0/YVqYTNhPPLADxllF4jBvd07+w0zab63zm1GZR8CVPffslxqhQg2aiN1vTQyiQde1nW6slYc3hV3U3/y+SgJ7Z+TQVoJrms9+zgYvI2cMxaRZDuprniiaIFNjtEuf3nWvjaPl4SbFaVPggeLGHwWFmz4qX4jwk8DR2kgBC/GYIuidXYU+jF2wDtjq+/eguHayCVpdVqIVKn8OhPO0N4gXo9r7WF+9iXFeojvNpK/VJNP3Z5wUn33R91gKskNhnCeO+ir8uWtbS8y9Q04Q3X0jUiyBy6TSEOsFiBbBFAmDsZxDqZFcYat1MXrVHqtJ37xigkDU9zgH7n0B+QvOBMiOsv6qSw/eM1J+YF5hxnnWqFSNRt+7wZcKSbn9gx7TXz8GXsXsYUI8AczGyrTEnQyuHI2I/krxONy54t4tQmZRjyG6w8QqQ5YOaM5IY0vq1muRiXYZQwYO9NfR3xIsbPszzhG1DxXELKxxLbTHtfc/VMlK1ui8ConAjs8+uqVdre6CTa/H6adRV2kx9gwuhk8X+YxdhEYCdumW430aZH8EMu2mN8XmUYGDPWRuqbv+KCEtmzDGAYg2ePmR6Bz0EVRtbS1Lwi0s+JotKbfeJTNK2lArUe9wuuh/mbVDo8S47/rtpNlT5Oko6L6oFEE//xpcm87jfK6dnAdlv/SIRTx/sctv39+uw7mNrsqSTQv+75txCZyfYXY3Ujy2em2iIa23C9MHLu90SGHOTl+gDwg/yNh1X7/l2wqjyC5UxAZSBslwDhdTUyBBy7lMb8a33asGKZZ0DnXdGmK6/7Vt88rX/kQEwnLDtdDr+ILP9vy6UL7YMWjQg8Hnm7Yoha/DnlwAsJsKaNzqGGQXKldO+mzV9uoEkzeXYpbbzXV1aHkf164MI22uNxeOaqQRdQLQGURLnSD0j0sOAJvPPugc1ZUnqXE16hgpfzOsw3O/kDwqR4DSnEQZfP0YRYt4mdT6jEmTUa2FMDYwXOKb3V5SuCvcuDgQA9na0ixYsESQbToI8pDYgmANbLf+WT7clQQYrARe4uFI9HR7H+nvxY8L5pkRWIauG9t/VphC9BfudVu5D7tU9cPxZPfvks2NjOdpFXFkZJu1ncxFrr1Hlerw0OrrBEzMWxtRQx1k9jje8V+C0y2+xd932ds4838DaUTqpxBoyaAwsBQ8z2RXQaO4Wk4262KwPogQMEQ1HXbCCsLkpmwBDsZMHGD+3DcwY2ZhT0e5UbIdyrH9Ed/F621M1pldofTYZVk175mDBG69KJ/WRc9Wva24bJhGxssG+pfcxh3YbiUOyqOEYf+LO6kRsJGgC1TRZG4bwxkPn7TSVlltQMSwrZFwFAuSYkeAMcWlOGKhjR9WO+zbXiP+Yh7gOlmd+Br0OHVPFR1d95poCs/wVzahyBpDtAMSttqYDy1t2geGmdHVW9vVIdxSHo+BmV/dJJUWEsl39jGVVD9K2bUyX954g03kwDMb7difeftZMxlPXIxtL/PvACMOe1YBOvtxekjjypzuNIpvPevfl1ONuNNGZq9FGUrBsk8Lv5IyHR9VbMGTYfT4zcZum+Q72w4wULTO7GC4DIIqohv7AVai94JkL+JPNfY64vn1jibJqV9+OBRyv1+VzqC54qJ5QinrWGNcYbQu8D0nD9LLX6lqLjrwTuGBH0tuJNQwaNUs8N6udLtAYzzrbEOXhb2yd0DoEKIv/kqFJI2u58OaX2zzvKad3ezE/FLew6eWQhTIr0u+egWaaYPfnEzNxTsohnUD76/3LiUV2Pc0cU195W/BQ97cqcDB92THCDDvbUlk1FPsSpXbGXfMu3zyYLay8593AS8Izw2egMDict4N7GgUtzf47j0QbqXJzk7Jz8F1liwaGffWg4LEgK0sf662bWdHC6tNTVOLRbZXou6Tc1qvmVo7W7wCJUfohAYmcyEeAOExvrShcRa4lwziGUa7q56V8WOyZTm73J41YyvUoqdBOMGexX5PiohV3OWlcpydvGfwQf87GD0dh3diKrXJXEftkaUT3Y8wlOL4suElaVzJQuRrg+EOuk63et1oIbQA410meTdZ9y/FKFv1se0+GpdwtbfYTiE+p7yk3w2bOgeXLUfIh40DjgiFesbEtCvQACo5Ymw1JYAdvGH3grQlQJg4qxGcXg12M5uWOMxsJrsehMR5MLKCQgw3If7wMpttolBgwp/5cXtEYcgLgZuEOdbfN5JQKfK8ZDOmUO26i751O5CAMuCEziCNFQLqwRGT7m4CEkxEsZdpe16yUsnV6GUDB30HzfiU4mWM0gfjlAWB0DfApiuhGrDnx+7Fp8S2d1ri/mSVCR+OJ58XHcft2FZt/txyrDMmyqgOiEOk8e+LE/a+S6vYWjdSgJkrUqToMiDG6p89jgBthwyzAfV16MnNfge86n2Eu51kblKOoRAjX/YVlOj5NBeH+YH0DqYpP/5WfzQwB1Y6JMeAevRZroYHEJHveV6LaC5DS2PQS9QJaEmCiHWDzGkyXZAvL58U3B0GuXoFdySnbOjxqewsngUK4wiQ2InCP6hSVTVbsRvpTlGVZo1gPiO7wz66v6EIIqKiMNcsrbdupeg6uFzYTpNy1D5Fxwe8pAlngXeD2fAHiBc1GbKAcF994VQQSv+iZgkhZEvRU/TMRnGhmudRG0qFfwQlZ7uwFzIsEUg1G5EXmrzZFslKQ5DJaKxbgLMVmaD+cwcTllWgRmMjyL2kzEmksMPMxGix9+Za3g2Ua3IbtFohkDbSDi2nPNOs7Xs81sMfEaNTOVpFQB/c1O1kLl+0dB5u49FV8INRKEd1bMgO6l0eBwLpEp/CpWfk0TfhW43yn0sTUVnXbS3QTmsoMIa36SfPXiKvofONRJsVq7eQW/bOnI9Lf8f7Ay0k/A6aqH559kS6qzpzMx8PeRLtFpFTo/Vcab+0tXk1Q4JamMxoPld7NcWC5ZXtKdNVMuumU5lz6FAKc0DwBBSgDSV7RiwX+GRlyXJloufQTtLv2NXbeLTB6GClZ2CuTfQL7XiN3ojw57a9l718on0bf/EAUk3gcQH2FssShmJ1iJV0r2TWSbn4eGkgtYo7fmpSRxX4RINmKtDfJk4ZD4nPsGSi45w2PnJJONXwFVCp+fXCbDegVEmts/jDVEEK21k2C/abESqk9F33wDsObHU1b2ziatDQ4TESkK8QKxG5+Og4XpVseLiUa6ZtuQNKAo5D4QxmbzTWc+RMTQfW365trTJQrC9n7hOfrxIsyOn18wWGy7k2fMor9IOc69mN2NqAwKayQjtQ/Tuomczz/4CRDdWruv2kKU3RdJA1Ea9JN3+zrmKV63hkJrCFY8MJer4cyWD2tV4r6qsNPxXVtS0NhgYWXJK3kOF5GFYTfHyaWjteNPItlIzn0hy041VfwfQlv87mQibbmCMaOFmQCInTJj+gM3Svyya7GX2MgREbUIvWh0v7wsFSoHyqeP2WMEkllU1aYb1FXjT/jVUw7iheexpIy3gQFWz1NlxpTz/luPB4eJ5KgKm2Hfv69fp7MUEhV0fDYUr7ks7PSahTGol5Ap1G0WESjGlpRdv10izGp4VnBIuRwmvOJZrKXwwPlMbiQmD95s3st8xBVqYG+ciWnwTqdgBSbqXaqIobuN67ni6Kca0wEm3VqvV4K6QrVu4d8ia6sAEQCBAxlClTBcqFxFJ1d/czxuAI0KFTzIilLHNVMIiu3Tt9sCw5lOLawhppg1Hf+g+dxfbJp16qCNJSSLptHUtNQTXZquEj4K1MkR6M1haD1oAY/+XNMac3s681ZHUjLApgVRAlAMst0iR1kN98q3DCpIPaIGojuggybhongOxh2lVwekBbAG+ogJ4vWLe24KINfZo1BQmzXZsl4V1pMllnsmUa5TPlR13V9MMtZozuuqLaUY16DH8JnpCLmwRMwu8/xFB+YvPYjtWLOL5vxhXTXrwDnKDauvIlLtuy1NDo4jSckUWRCAq2TyvRagydBSwwM6Azo3u7F1fG3hAWjhLkMenP7by0YD53EwzWx+EBXpYN4gZPAj8AiB2mvjVIbjcXT9f3c2A1GxaiX3gEfBVR+JhzHyIWeM+8EA9BZaLEwvpGrkApuyVgj4Uom2nrIFE8c2DNIDjW2qb/3cUhQ049Pvlv9Yi8+C6o9MHY+TwJF3jJtFtZGjE0mtjQDcuomitTAD8oW7jGtPFs+drKFD9mBe2y+OQEgqLtwblPiGAcWAu/M845dmXmedaylWecDSnJMgHFlz7eazYonNFB3/NsR0wF2OzK+02OA5+4a/i/A+AtBijhxoS9LjlucyepJLYSD/NzYL5blC4II0YgHH1s1dh2ApBcvQ6rSSWmRUUQU63UXs2ToUtad8k0HMGVACf5aU1APDsdufsGjYZ5HjHbdb4g32THHUz8bEN7k3m/ahA7+RABw27PTBhUjnZ+cTWBflvjhw57KYhlXu0JKImdueBiOHTHxRohibD2OKOAAhWo7o/IE2MDQ185cNWwqajG6824sl5RhJ4Tc9nkaMLQdvb5FAGeBKv+8Hn9V9KozT2Sh7v/zsij6l5YTB3KHUZL5UwfcKSLMZlVCSfiN0ujTpCfHkLe/iV3O+ZBSe8grN34dofXZwPl/l/HOnlIUizLZD2ZQnS17ltGk9n/8YauPk7RdWlx811Hv8BB5mxuflPDEL4WSG+BcfogPfPOgdnDXi/YoNfNpHooUu3R9SS+JpNQnN0gTVq2etMxnRqWg7XwL4Mja8WrJrEypYWk7F9Z8yAQK1l4uNVLfWavRktKYPDfvKwXHKx3//0bpP6W3DKvhzVGaFFemBGMZNsp4vHgLMcr59zI02J1C1LPFo+oBXtShXNhSgY0XYUQdmI808LB2WGw9fjthZZM7wY3bAznyP+iNLg7Ui6uefC2RbAsh1tPjB+y30rJ3lkUfQkHOcZPkp5gqQp801BRruLbqhZtS1JivLn6P2pscoye6vhBmkCyJ1H2eAugFxxs2VRx3gBrS5JLyGsh0AACr2tzLtRuS+ON5pG+MBvOtF5kvFJcTweTDU8hsoph3gFTJFGyeZRRCEvGzZKxCMOuE8ZnTgSIISdMy2hUO4jWByeS5c5p2LmODxbEFhwTjc93uJ5TpHkKYGp5SW88va9lwQHRT/P6xVoBH/S/HnAtbLuGg/q+74aDcUU6MOGiCiJfmOiRzbwHfSfXc4uWrJSS+gUEB0FNMPVdLD1QWouzSaXJYJbp2olFACJBCefqiNjZFel7NhAyK7ixWO7fDnk4cfU4hDY2l5U3E7GNkKDY3pzh2/jth6J6oceKd8UnhljqvTeHM+oVKDtcvypxB+yykeVegDTOB9kLv3M2TZKhX5hIeOL8fH7qQ1OILf9eJtWJVvVI6phSk8ICrYs9FXe1dq9fczi3Gudq88c6h39Blw0Rhr9daWn1hgvDUjnCSJ/4RjgalsmsgI0iFFNeMYFBOG9dVRVbP+pbarMV1Mfx1Js8+97E91Q7O0Tn0DvA6C8A++zhcL7N1y3+oug0DojWWvgndg1LLJ0IcD3uflWwzDEJ2UMfOYp7JKjVumKQCtPyjNaINCJHuYbxymbphSfiiuPzIaMzeeUeZsiMNwcRKdeFWXrP/QPcseM3yAx52/hmfgoOLWtu1OVO9U9dbkIwsZBQU/Rxa4CwTUA11of0SyzI5mDT16VGQAQqIoiOIo+awuc+b/Wc6/3cpJPgB19fjo5+BU1b/Vukk00zZsc/Zk7EDJ3JtX/o3Kch6yROLU1oY7dwHvO8LSLO6Jo0EWTx86+JN97A/IGDITY1VQ/dzRXEFCyHWD5VJyjLUjmoGdT3Qfd1m80YQyBj8547PKpv7llk5ombm1mEOfmW4RclEu5msnWxjM7OIpXvQEOPQ3Q72aYPR0layMyBk1FjOo89f9rsoVEYtRHVmZFJJk7kiqZf/LPlYSqvzdSyUjS6kp9DK9FoI7bd5zDphwPqPH4z2tvuoZsbPshKvZW6c0Fi8zCbMOv8IXJ7b0c2pCOuR+Nvx6e+2DoTvJXKPCIBc0g1uveLDmWUHKtzH0Ref9gnEouDcu+/7VvffBWb/6AgoINhpmoH7a1ezHLJ3S6hpxqHMgnvKKEGw9136pZOZvLkZVpnXJLPfu+uht9NxVAUEs/aTWIBY/CHI4Qe1UXKTjeNyQ4vMdIZ1CNLXmUIsdnrkPtQ04vIyzHE/5k5U6SBJlR0weGyR7EwLLZloMWWBfIY3BcBrlKdaQeNydH7C7glMH2HNpUFzGo1TJWWEFERc2m8sluXlOt2v14L+u5cjraaggM8vej/Fs3X7NroJP2q5UifNEinB6wJhKy1QITyNv2nPCi74WgL3pXW2RJs1M9GBtM/e2s43lWPAz2uXymfS1tSgfF2HMkQOzUAaZ0UUhcyV7Zr3c7bZgy+LmEHcTMzwdMTQ5DZvtbSgkN7KTloibAWeIivFYDbuNkICvLWpV45N1T4CGyOqAdr6RohkFL66nGP0eC1fsOrq6+DGM0Gk9wzTKtdky9IVH31n4dp/HKoXGdMv+cjxDbzHex54jd4Welag+g2Ok1/YwvzZYQUWyaDMz1d2UrZM6l9qPkzTAnMpOstU3SGhuMR5yRPupn0hZFeRydrzVrif4ODeVifB9bki7MNC5/upK/yPBiCeHcyaQyAH0so1F5pnOegPMwcXSGZpgJKgfEkcZv2XKbqoj6lOZusKk2Ye84q1anOr6/Qrh4nelGZDgklLiHcJb2twqRVPpaGVferm4AzmCFvX6hCUlW6+EJHhOgnc7czXJEqWxkdgEpAkeTCOqffhVo7EssSRkYt8PyXbtgY6GC6EBz7by0B+ePMcqMMiGjouupsTqcNu+IT3YcWRA13LZw+tc//x/F0O1+IQ2s6l7CseXyZhOxSFDab+OnJJqMZsa1/QD4qnrBwiwHGMiRjnpwvKeXlDCEUyBIy8btbbtan8aMaATa5Co6f6AK656t+YTJGLOl3N8AOGafhQ1U6qnVeXd7BjGCPy2alIMtzjxWfBiXU//c79QlVibtGRX/5efJBCjmnwo/Ql0sUeW8ch1AxnVElA0sbNMGBzVOX4JnUHNz2y7dCQUXrMxxNXHA3VL5SqosYECrJjcNEGp52QaxVlMPDby2m29JxKLIpgGRRNndjtftm++Mqme3bwp7LxpNeYdw2305nhgQ4W3VkUtwmJQZ30iS+1oeuLH1JX23WqGkc3BxGl8Yt3dLCB1T/xRjJBfCic+U5plhLipyJ0eesl0HBog3ApAbNxc5Japb1E6Ww0waUud92QMIrWGttMvVNuaEP2flrjJpjkApGplv7Ouau5kPg9NFSUb8Sf7YfKcJ9OVsrn/uu3sl3nvYxMkxOeZpi3wZSIZGroHFAjQvhaf+jg0bDW+OV21UVOsIYHJ46X3Vl6sPcVoy4LBWQwKr/Por+poUBs27t+v7Fr0bKZy16nv/CagpXk8PuT2beb0/GVq3nYeKP2olSV28iQvUfjFpcof9GbIW5MMPsjeL7nHoZNWSHJcTsHBZPP2k/oRWB5S8m/pdmqiykSJkCxD53LYXda5EN7B4y2l7dj4MF1H9tw3avG/+HR6fJhNuv/ixs8WRlE/JuIvtTFP9bPGy7ePqI4kTx27uYi4mlWw1CcOcSsMnHyILVrCeG710ONOVEHmjIX9/2jIYxOSKocYEtlwLUHIlLqob8J55OQisLqReslOdJZYS/OWTZqv1XEc7RDkz32V7/WEbbccNKuSskyePXDJWlkXrGAJ+Ls8icoOnnCcpKwqUEFVvV/w223F7uTXPidG0c6uS8XtaTGygysOBM9PARvfcqo79mnVxTsqCxMQ3LorbwXrdBTc+8fUFAPqRQIko7OhhYYcdw/wA6wFhZfy/35kmFsMfIsIx95Yg/gFkUoAcxUs/uXNfz5jSfNpEw5Fhsj44kIooN5O6frVOwIrqSJbnb9NKFxCTpdykgcPkNfui50virxwAbGY+2Tz7aC1OWzxxDZXl2SO2tXIb9IERMmViaOde/s72PLgmrmlWZIPrB2e+cRqBz/Dn2DpjSGyBXBE1ufrV4pMFfwhGi+EKfh9FO6YRKeYdp1kiiweM+M0QN0AUzt0vtCGWgFhg252kc5gFp1XWTVCAXkQ100ZC+P9DS79o3Abj4E2IryauLWh+SZggNB+hrtQkMxD8EWECWdF5Dc2h/p2tGIhpRbHNK6JDkUlu+tLLt//W6l6yhZXyNjbPfj4+xMf0ksNhM7QnwzcB0HJ38JeadGjnSxpq2CmyEfbjOeqLPScDB4qlmyjdbvGeO2yujS7nS5IB6xAdG0QOgngdno/g7Vb00UT2vGtb3pKj4u6Qk1zT3n5QWvOsXmpMcL6oDoUrK9EuTX2OyhpRgcswzLMNnJr9tzBchrZZvBcjWSDqT6NpjS0iZqEvl5YEFB/40n3BG2B9SDFK5LazGXXIYSbiUcmPqBzS7in7zRp1jrHosgGYanETwN5vbXIucVsLuydAAD0YxXtb6bkGfQh64JLc0snpCsT1/L64KOWPl2Qpc9ZDQmC6saVbRZ92wgmDRdZcWUBH/iYKSMbF+OIszoZ/s2FJeNu4YG9/0/I+H5X8drmRz59Uoc1ReQn1Afu6GP6DbKSB/aQpN2qwkIdmQhI7iJkw6VaAeuAH5t4b+SM+HhvOWIee/ZGEuzRNI+HQXmRF9lXoeZQGmCCt5nKl8ZVJ7R+HDbU2rgFC2JFEp2G4LkGS3E8hZ0PpzrOefhI1I7C02gP9na6617IwXYsuU1qpm4REeUQIVM9iMEyiAQXuq3y003hCbZIeGEKoxtbiOgSKEHUymt+fyLjdUMy/0nVmowv7tSEcyjRjhNtHyMxwGOfTNJhovJhGlyNxiEDQWHq3vpVwfdWMzXJyq2ahJGAQI9ELOJRRME4m0XCqDhYVyHdb7EQQndvGilDnHmYuRWaCcWMjgG2CW1EZiqZulofOR8ORLMNeLvfQOP1Q2NN6HNnMLmv7Dq3nyi2Q5vi/hrjvrX1ohryUeylCziq/RAID5AZWD83P0YnuCPr1jgv7SijqnqB95xpBh5QNsQLV/VtgQ0xujpdOU9jQx0CRDGNto7roGZms62yZiVzQeEX44nFecohtkscHlHsymwK28lhYwyQYbJ09CGBQD4woXj9mitHS1R8V1yPVZU7GaKhZzDD0a0p2WpVvJIKhOVkxoNKavfnmhEwC//awSu5sLB1IxTaq0Kk5hNV6KDC1pFTfcrvUdYMv4K027M50UrPtsj+hwXWYGDUX0E0wlGwDL5HqQwnDCBE4OdiGFy6eciOEMZRTHOSsV/rBAUdWmQP8OLLOHPnsawIjsra27yg85tlkLitkGjfO2g0hz938EYm3/GBT7In1ktmkTyFzpQfUBHIxh/U+8NW7vdzXJPgQ+vlEq2UvhufGoMDtTB4a/+u/dHeMP4BNloymh1l7dUg2SrdiEd5mFpTwGBChU61ByDPQMB2WwcMVk483G6Hm8+ozT7xxS5ga9dsjZei5didfxQxoeRDmqHpoB9mhSaXsYBDGsUdYI7HkgV0lOELXlsTQ3RHxeGaMINM4F1G7RH0epGz5a73HZG47l9mHPhTknr5R4K64t3U02b/Bqekw3BI5hdUJ7Vaf1NTPJBeW/5ZP3WkXETtPJ/mh24yrQ0jE20ongLJPjxNr7z7AyyIDjHALGwyhmtM/1rHZKz+9BDWm+Z1/zy7v96OwCABQKymNHvonBGespAsjn7+DWl9n2mY6soEwDl/VBb1hDN9U2is8/400I+Dw5VbaTIbG8gqEQ9JrELp4vtsOShP253qCPCjdur2Bn+L3j4OFYRBrTU7bfxC6IL7CpKyxD68e3VxJJW0f/r4BNXktInZzYo4oZISH47XVBFWpqs7FbVPfNMnjncIRhEnCBcEW+hJfHd75L96x+EkLh9cJbNcitp8hxOXRGqOanp/AJ9zGsNijzNMwsVhJyKOV1sBSFRpU6zwsMHAX83LwSTHcApZY8PqhWfRkMcZceBmlGNK0A4MrpZQxdxGJLh1wpLXEwppUJ+/p8yi0OQrTbqW1rSMdd0/E7CNiOTaGer3/aUmX9/BTo9QmpQkJWSrjtFUyR++B064Jxe4e5p9yOLFYJKgA7lRw9H0G4+rtUdW359veu4g8zCf/+JeraRtNhwRbNH93xFsNZm6CM5hSxv9BFvig1xpm25lXMna3DAndCKnFotW7f9pJeiVWPplGKVZyW7Q3q9TqeAbXTUPCMzfpYx+PqiDM5zz327Wf1EKiK3Wtku2ob4QtFMgGHtZbdeN3w7vxq9Ac4mUKHeeGbzLdrh+vjADN868WTgz6Ct/Za1IoK2idIikk3z0XMv8niA0F1uNIhLtB53waT9+lbuBEyAqnt9iMS8oiRKGhZP/TLsXK44febhGpuh49qksZz/CXSQZ/YkHsG261nDwvkVcgIAbfo5lfZZelrzO3fsNAeMxdBRBmV9zVmL4fkvNdux39VYWMHk7GqTA1l9xPoMSAYiGLdsaewEnuJOsqB6Abm8UC282ufEbm6uO8wiE1/eFDWHadV288Wa+sHfGCGhifRvXO9MDkFG2QAVUzXdQFKOUxL6/TTd/tpikroiCgv9EHa3Mio2bBVPSnInF5hBOI+4dbvprT7crCeonRy4cDdFHO2ruBYtL6rZDcUl7rh0+jsZ/h1rXV5tBzppXWwC3+QNS7YQbOsdXqajGq8zSwOhd4HMOUcdYT0bMeTOwrdmbPReRhpHlfh3uOeOmRUh5QLhBPH+Kxkpy50rPXvn1t6XrBUhJ3ekHagLxuuPXfUbRx/aYCukMjDAKMY8bRzT3K0WN8bp9wLe3McmZf7bJBsBXr4c/smDAX+ARKzUsA3KnHmg0K4JKyQRRfMm75rnXYaYhZjLN5Vftn70l4Wv+uYpAzZr9CsKvOr0g3fduveqCMst6wt1kL0i3byIuapfkfZUA+oqd6nH5F6ZrJG3/STwl9l5wNFqbPdnzA7AczQH6jzs28pNectycj0xKylpYNfWeGjV2fgkqVl/Cc7AQcrAmsT5uNp0J+QOYY343M18TDL3PAqHJQiGw1/b6C03VGMy+/IjxAoEKipVlfF4EdU95mVu9Le1RaBkLGmYCChnv5NScdWO7g3sCbd1BKAXsPCpTVDiLsYrc5BhzTPfqORu1hpxMr4th3a4XqYEvNWgJ92M/RujktebtzUw2GFjbZdyrMJWEvXWtVd0PlksR9c5g6lhqw8ZuWKqIHarrhUn5GVR90cVS7z6uX7ohfFjsmLkCOgiZemuY+sOdwV0IH+yucyM6Ui6TIZ6IuVJmlXoNSWJa74Nr0REc31KA9gKqvic83pWkPLTGTq/bSi9Xqslb/QD+Q6riJoq8UWwmWeEjEaRX7cgnKKf68HxeWbKX3mMRLxrBUNzZMa7g8X02wEZBgGQjIQS4gTVgn0xFfspe59kPbxemR8cr+ly6VSa72fOp6KCMqDcyo1SQsrMEUYA+SKXVp/vmpKipccU0DFiuOF7SYTbmConxz+VE0uhHEwgCHU0a6S5R4tGkS64gkmZ+Q7Euh4lWdUf0kCsrXcmP8brWAJiGzKHXS3D1Ki3xIW5E4+hfNZVhHKpAYeTE8JzbhY5TJ3W82QZJIGQBT4r60CYcnwamXTY/pRN46qlUccmq2xwllPgeFIEFRQIqwueH98zgTzbdKAWVmeY6FPxHwfWwEH6mTtGAX3WTMX6Kh7xa6D/tULI7w+4xSL3aFQGfTNG+7VXxXaJI6PpgEGP6L3vBqn0Fr5OlNCfr0/MYwZ0Bqn4GckDlOAd40sV5SWZ0XiwOH9MedOw3fPZt3KylC6wQPSd1y835VZD1+th+FjIzjYWXErwuGTIrO8vgugB71d2jpABcairU8g3e3IwbPz0fEY+ZON3EVLFsdrG7sw4Zlfm31yocwDr/8M9KnL42hrk6pGtQ+VFyZLN7OyHDSs1O/wVC7fy5Z+g423FZBECiVfUBiy/AML6yC0HipTh+UM/yqIIIeNV8GFkRgj8H5bBEGR47U8jZ+dpllzniXDs/evqcxOP/t/UW7uhE2WmVm7Ve2zlepEV0DKEF+CVfv0X9jy+ePxUMpd81rq+YFeUs0S7izRizOJyf22V2ouu6r0AOW69DXhe/tY2STGq4ZUmk8r5DYxzIo0DCOog3SRVU1mOYXlr6Pni/hqNRdK0CZjOrfztMI3AFxafNcI16JzmG/xnO6VoDGimRBKVeYVNICAApihcHOV6HoevXNTjgz+eq248dR8Z49DeMxf5uTpdVWMgrtnQrmf0k4Dkviy2+ySNrA3DZVbY7S9qrEd9EHQz4bSsJ2Sc2nqADC2Rj4Fcb9R7lcVBLR+3edksmHRUCYa47LqFM2MYuyULmEpHtq2bHd7OoNcvrxfNyYUizV4AGBnhTEkE70lvGkSJulRS9F9YURSeUbL+eOOjxz3QqC9MX2ZDdbZFH4gpr3Xl8X9OjVPnsiw1sQRsInyodN7ntVMWZ/uoJKV/dLAd8e4kZatnDvtArgn/xAa8cwm7zz8XDS5t8nzcV9la5q31Mx0N4fLk0s46Cj/zWtNGt3HU42cBKkOzMBCFTmkEDK4S9j4gVY3kmj+hZ+hmrSXSW3H/Octvy/tiULgyAJo8bfgEb2KpgLctSIsqXuPjDd/rb4UBdst9JHS0AA7Duo9WwffmRkREHqOURxD7sI/40Cpcgg6XgMx9P2aex7JMrwadDdqOJEM0wZoinhKKY59WCkZ7dFq06DV8zxizFOWV4XOdX1tpYutD2D6ZU3zvhCZnqc9O2yeG/CDL+x55AyYr65CkdYZIFxarbyCcS+PW3SDe3HPTG7yV3iH6JzlVJfbGCjEbo//ppHzEha9cXnC2AqN2ZMQ/1N0oEhbMmnRO450aSj+SLL1cfk8ncEu9/YZqx0T2r/3Ua5W92/BHZDrIrc1rD1tx3Ya3DIZ+mIGe59boa3SaFc1Uk10paJeugyhka4QMHRGxjfjqLcxkN4PhXtoQh+/F7vVZbJpk6y8qT01SHCpzaZjkWxfziqMqyyajb4waIXAbsytSytai7UtnGekGMGOXnfN1+/lDm/7AJYeMyK3TmDZsNElJJqQTnAgrQKsL1Ji3ivOamLKXtOtaytFvFJswAXXhoa2IYJl6Pa7a6IKdoAFx2IyXXYzRWVAtawzU6wt6/lBylEvlqnils43EMCRuyyckfubL/5/hjvkDckDWJ5kAFKNL5reIE8rjpw/LtR5abtg+Q8vZrdt3KvasHkPfVNUoO0NL2U0jxwjrkeU8+Stih3LQaJwlQ2WoGEXHVbQJIExAdUWlQ8bhfuChzC3d0UuBQC5Zp5KsBXf3sihqhdCd4WKZzIDtlbRiP9eTpCRAfeELZeR+HvUD25p8K+zNk+4nAFxh+acmb3er0lT/OELsfrPhfyAq1pxlCdXj1m3ijGcn2U7x4sHJbTj31T1/Kss2cKyq7CGWC2pwLhaMGUahHFXdN+J4BWSXHroia6ZqT8c9RuzZROA0gpoFGGPB+b2Qp08HGuPruxSmuEVcGee5JXtYszQBxuGruLLl41srcIdacIaAS+I0LYL1KEMoSTxcd2/NSbs6KB0A3D38cPWi+JnBq3jax3m4mfL8qX0jT1+dW+ROMtSROp29NutYbNvZr3zsKkAdeT4iRjRGtp+rnzPCDpjixVNO2Zn3fYPBrMCKhQmyDCY3s4AkRjPL85A3fqQHBhwT0QP5zBbYmv/7Qnb9DeMfO1WPsIlK1sqg8fsmWhGyh/Kn6WpCgNu548mvKC7HxvhgHI/q8IeGVx/x+bu3GYp2gChXnUoTqfK/o2FOagrWpMw8pMwWv4xHjdwzAClPeL0/LcHekR3f/Od/56p3jttD45vnZTlRdRxih4tXZ4aeADU22hP181gV9b/xSYKFx2XFta0O80Tc+/yY+s+VBwhU5eba/8PrpXJvPSdPSd5BCxU+Tr1Qmaf7czvtwksAPYNj5fykgWVFa9jD22/Ug0oBofmZUtHvoelvnN1ujLeiNga472gtqZDnJZntPFAQ1q2EZZ6/NWMYiqCtSPBXfqcXKTt8/vT6XMf6Q9MSPSuenCZhwk9UB9LbFsFwXBsyMu5KpgkKX64Yv3DyK2oszZgxOS2UnYw8OIINolY388O+vvG33QDhf0tmLE1YUpLnR9ao0NjZH33/3aXGEQk9r0630CHPkOZ9VCF+EqN+u062EvXqvxNNuytkeMOEEeqPqSRiqpoExxizUuhjfzGDPWsg28jpAZmBwrw4rUT/xhIXUlOZGVZUvmzXYX7WFQMI5yN+tn5piWoA6KQbmDQG1dkLnSjFnzu2OycagJnCFnkTwr4LHXtJctw7HJFaiTeRoL1I1WeNEYquzct+NUj+OKUP/wZKtJoovH8N+D/Dxj6UQRAE0eO3Ryn+xeF6r6xtrvnj55I3dUlF0tE4CCyZIcPN3SFVUr7Qv500swlFhj77KpAHLfwh+dZHUZbmyJS33geKYDVr+tRYtCjM9bOhyNJ0ScDCwTQz4b5jfjlrWECiPT2A/vhNAkFvObuV2MBHALDC2FKUwoIvWkNxcfs3k3j3Id226tc0qbEhnAYT02Nj53nWVi3gq17DDQUbTTtwY6ro9Gyn6R0HwHiumUzpmi3t0vo71i/zZmI6ZmMY3cwY2NBv0q3EbA9xSHFyzwHnSeVr0F74Abh1l+YKCoTp7cwW28BaOdctjkab3Q2PI4P9AwyTkDhlSprTJIR2jxqkj5gxCt4kmduib1DlzFJDznT1iVscAKUvtNuHOFrWKER2CN/J8UcsIzL2Ch+D1ouLl2SVObkMBIZgqtsUoonib1a8TXulQWAQfR1q3XXqdK3rT6zZnbDlb9szSiWs2JwP++peaxmWsB0Ea6SedLJhZX3qCXfmZzsE9r95RN7sDX7IFuXepVfnH2vfaUUQqpGK0LkmBm1T+o4/f5XBNrHTP1SMN+Mm6eHDE+/y5WJWz7AvSJOLKns8OwReqmGs/ZDBP99PAKqiQF39zPqACnvp8uklAA9llJuf3FFIVB7epr+nDn4dCddi1C7ISRbDsolQoE5gwwa3KdCAlXTOcA73dwGo3db3Wb9FRbzqs13ugSiHKD7HRwa2RbL/dpGwYqHzah3Jc9oSeYcbKCHfkc6ccGvUT30Lsw2t5YNlEca5umEWWI+gIZy2+oe61dFTBfYycgywxnTSfHmS+ylDleYUPIQVIet1M2wcgmuKyF6jCvq7ZUwoPN3PT0997kuoRWUDlCGJ+qWdaJfK493a7zO19qIeyxW05B4r7rFnUXueTQcv2bHTwiLmDzuo+0U376AlaDq/TiC3JA5e9Sc2UWKjyeKT8FnHtI7UkUgCYfg896USye1GkOxuajZvHkyr7kCF6K+utxpR1o9CCSmrzCm+ga7JAGpvad+ilTsiHjNlg0pU90Q+Kjt+WnSA6oNipSqDiPSgJoY9tylvYSWdmi/s4ZN8Yq3LSPmc+2O8e2wQs9M6gy65ls8CabsDSJB3GcuQkzh4zA97P4CAiZezB5h6KirBiCpMJ/uu8iJO0VLq/5v+9lTlO/+SHB4vqUD2sUHcoSd3BkC2526AIl4WH9EvKfKpx84cVvWcxHmJokQ2G9/LJSY/ZNmxt+zZvMME5fYoWFCCUHou3dENB/7pV41H3IabiAmNEVPOX4Ih+xn+mIoDxRmSQQ7B3q51TyXsgmp0FD9xSZ9yK8IKI+A76KSjKxj0i8e2YcDWPwFU2t2Ot9d5bugGRhNawRIx2drNn/ezeruUqvBbJ8fLIpJyeOpQsL77qKSRgtk9wiJ3FUyvStfazwZhq18YKHIpsE8ie8rpdPHdmbA+AProjRw5FHPsUjlLF14zeCIMws0lW6IwNX74I0whHMuV9z+zGRq1cOi+ZQ5sOKQxU1SRRrxeNOvuZozpkSkvKuWG/odBwDzmGWStFZnOzJGR4Wv9D5PLyRscngXM1eHnDfijYp7iuec2M0IfUIUQh4cz8qsNhdCKjNrNoBsIykZ/75rp2/LhgV4I8buYG8XzqVl5HZcZrKSGvcexcxYhrOtnMS9sC6q9DcMbtwfpazcs3pmTUuinKUbxKOCDat5InJBVlnwGJH6lDmAsrviWtaw/eXBBhGx6mHXBTHf/CM78xWOKq5QcR6kbjze+oa15XCNRKTmTxRfI0N2yQu6NVYkHtKfDUMoDttCSzAG+0kKkEgAIVPcOU5mOao21dYBpToByt+zf4kwSAB2jBicf4EDWtbR31kUKSaNjN9vrfJUXjVfoLVJNHa+uafZc66r8iyozuJqh91MiJC5pPO6Cp2R6mR1xPGtOevF+daOlEp9IeaDx5HgdMLtuW8OoMUvUlQ/mecztrwCWPBRr63PGKbApt03Z3h9/w5ZXbZQqRPfLnCYU1BAO6HZd+aPBs/S1HnBik8PKMtWmGqRBvoaTxN2bEEAa8w3Sfw1dN3GsWg8Yuz7Op2wTTJe1WYL+b9JFAHYsTBGPC80XMrbdC8FVSaDo7ZCqybEI4nomdK6n8ozX2Zm+ooReBhpETsj9GvdM868uFW/64TkGCeQwbHZsLMPitL05G3WXsO0myfIt9aKzi34Y7QxqQX4taJur9rTm65FTPrQPmSCLyP2m9UBku7Objy11OgXBU7BAWYCDQyEcZt13++6MsTOLvg4ASFyJ+6cWThQN9jEsOtMPnDJrp6VUBg2nNLaqg70A6Yu9te7EWcRSrXTY6dh2qoSmhGeEcB6lo2dilAbWL2YwmLNLPR0Ssos+XlhdY4L8NL0Ojnrnn0e9g5MOyrbFoDPYebZflJRbIRoTN4TAq/NKMKSqoPO+oSDgnBlwVomNg8zeRwqxGSQ+8dh4LEzmFV6NRS5n5lqT6VkpaJWiJ98DAYTrGczT4Wpb15yQRX9TQrMUax/3OmHWJE9/r0a5whySijZ8F4ojly9taUPTl93PMYvncz6ctuOqpqPUD0/grpVj4eoMX0VhulD5FvBLj+HLIs3l0rAikoxCmEbptqblKnqL7xkFxs4+lV+63a/bOO16VEQVJlMcuA5T417leRDAZvFsDx53LKErSloNu2b2VRS3GJ6OT4dsnbc11cTRSKxruknv2wJXvuFobkFD8iMMux2qp57vdhlQ121tuXgCfUmZvfLzgLLlT0M+2yEGb4VK55OVRMNY7/GdaxQB2sh0ziFSQ210zyU7qzb19vGqAWgw37uIQC2/l0SOl/yKQyu9mFHWzJl6mW7jqeL8OIn18ruZn20CZgqZT76i0GJZfNBI5tQeSfh4WaSxJW6PTS0HCtTg2OuFKT5W54SukuZeISbO3UmsGQ9GlztS65iLtIGRq79YYfi9xjEyq88p5sc+yzUGckQb4ZJuHb6Bcpku1pqvxHiyYKys/sR/JkDO2gV/34Nd88RqqnlH7V2H5GDARrXUyAJPQTw3ZUksLgOlRVgao1JZq6j+wwE2EVMfxDCY6yF5sVPdwNgvA9pYBBqhBNKVtXEnuRXf5BNMr6SuDOSgQEuIkf60+QTdFDCJi5MJfgK9bD/8cr/vpPq0CjngKTnfA5wWU5CCChMJ1g/OUgP0yRPxbAasubcCfcXpjsEjA7QFAQ8pmyXzKppDJdKIowgtcgPUCImNZLtWsZhWByPIvIVPeZ5qCLqTocARmKVulgYxCwB6Fa2FZd3uGui8eeqNPjcE8ch3FTJ/K4OoGCrXE2sq6gNIdTGCTE7rmzruSPmhcBYI09XoVumG3YaU2wFW93apcpQWFpkHxSWyjaeWpgVCoopNP1J3vxgOx1ET1MaoOPJ5ZWDMrSJaCMP6T4oBzn8KbQeifyj6QgmV1kKiT0Ov+WhZ/wsNhNCZPXtYxDzulWvDSE0htoHN9hqR4HetHxeQpOl+CK243wZcQQXbPXk660uJCD2H+TiC6l9FOxCuhNuQWpG85HIItMUci7WxvBbbV0S/C6H01jHIQx+czKqvRIekqLB+uLOa9TdGJ1CUDjcZGSmCYXz+iUyWfuS6VQ106BX5di0dFrO7cBIu5GcamnQzbFfpgXScVE20/ZO8khwo/BgZXNw5YxHRfi5jd4CHh9AI5fNYrvgIY/v05yR8b3YOTVnnMcEeeS8u+AKR+N1YIl16riaqM645OHdZ7ye5SEBd/w+wiLcQ3dDdkKoaTic9xmwC21qidZWFGEFjkr51nHl6JckdHUEOHKUYdOktshdi6RJznTXA4JgjqgPLJSn3OQaf0sz/5uysnykc3EZWevv/5JO+lNJ5ezKwJwdO39FnJiDUM8qq9/5uKSU47RRQy3Yho3QGDiN995AmzXWfQ6NHOp6iCfMaOGKo/i2mRW9dqNJBbFLZEGgTeC2Agt77QdWEOuK91y49lKNMCN506+F+1K1Gsp6fF4sPq26BsJaVPvAd7nWANydW5cu8kfCjcUmVD/2pWncvcQCa5syJJCDuc1F26emiXDGxkcqt11QTAW49BxG2d5q3DpTVbYqPD96+sqBXDY7Y1XhOjPzCJqhnJIUYvGwtzClRP57FkhbLWI3id/kFVjzK0Z7YfMJXTE1rAa9LqElmS0kiTHWPTRjFmxHvnTHFJ7hNEqtumJ9DWFpkXFYkvOgNSGVzBHw9y6Lj0VU8eC9QFoxNyVYWmg/59Shzq0BG4Uq+5eb8AUIoMqvAD2DK/AL8ZJDhTsi0tYcbRHp/boNGKwLXVJtXtjy2tKiZvOINcBnBpGqrDqjlkPz2kHsMmjB9uKwoAzJKiCnXV8lajFPCPIps5xH1p6Uv7giIJC+I1Pmk08yujvVhibTlBMFp+00t7dIMtubHaT7EqjBMpoVH5wd+yCFK0/UZIQb5QE+V3Gbbv0IFNT1gMJpiYOcqh0D8Z48I5pRrxizhIJycQuEUGQZJhaJFHF+Ie7CEVe3FzUevBYJ9qNQKtp8lqp/qNMEiSN50dQqvhinxgcHCL8eiV8oVpnDdJ/JNqp//CrCPLJdZ1JGANq2MPndpTArNduqH2yoqAH0Qc7IKqi9KkJbMe6mJYcCVfp/qVx0ZzxlkmeVzFD6hiIo3U/hK05B7+bcO9hh3C3v/Y8JDwqXEjh1VyxEKvGjcbPIEoD2ogp4NOqpAFb7Q8rmf1o88/eui8IW4s8wxWf/m4fh5dg2uxrTYJTD2lMJAAmIJBEkKDtr3dITeF2c8zsHYSAg7xdw1qzbPF/E8kCEtcH6FtyEC/1Ptq5VmIuFc5wY6EWLqW3iEDKn4ihM0sIrXhG/mP7Bp5hpJPRj4R3E5MsMdjvJJz/NJCLR/LeYmUYmkhn1sx0bYZiBOh8HV9eznxUcvowcQJsoGZEQFjpLP3lGBHrfJ6mtKydplq0YMsvZiNko9/M9fLChonUuXVCtMoYreIYpWw9qpmj0gDd4oqmvf5WYIQr3nHirC0KEAbXWTk6gHS+qfvlal0Jmqbt8GxNIpEw+SGjuo7dhzlFnmye31H37oMnql1Fc7UrbNJVbNqhLFGFi2SzirP22GCaGanvCUa5PhUt4/LpgqTS7FQhV6gqUtM5UG78vD19B6gyJHUnWuYN9ShdxJ8YorULPCN6JUOOtACGwEMlDPwL9fn75Pb83xJMvEWnjixQUhIH5Vcamc5Ptun9Uw7+R4JN3Yi/GSRQI/lc05fGnc5zAQJKOIqK38KUtBTKtFNjdu4/olF+kN4ZI5pUIHvAggSCNZgyFNe+cIuSVOQEpLbfUFLzvm4ZV9YVIU6PTaeciL3FObyQHTpBo0d1abzKBTWFD9EPcHTTW0y/p6OAbNtJ2k5wmSB59IMtallNCDVpCKFdGjoyhBDjoimWA0ycxEl946OPiOmfZVc5JmkNKUaPSg/gq+MvrXJNik2QYkMCEsoYpwWx05ddcmfXL5euj9MRzsJGsPD+UPQc9MXBSWtO+uIAql+U15ry/VP4tQgb7VU5FOgiIJsO3vYiwIAYvx/hgesJV48toc5D/yr90U25RLE/k0oCMVoFTubPOao58kPVrID5FOnpOpyLGR0crrsRij9pLUireP7hl6aI9KHf1mSmsQtY5i9rNgwskJ09F4ILiiWq0N+towhYQno3l6LNzBJKKcWPfzkhmaGbm9GMsRFsmmutGbnwwiyM5TCqktWYxyuxeVL3T0l5pQ/3ECkc9OEbNzkBO8QWb7kvu6fNz3Vr0lOrzr+Ghwt1CpsGeKedH4DDrV8GhXR6qfZptIn5k7uC8/E9XtznmwdSfXqeDcfhXoQ/FCrrNFyXIIDkB+o9G3gn3ElixKJA5PyKiwVRRqYVPh17uDFVXc7Ls3jAEkKSzJ/fQf7vofPD/RcQhDGYy4aACGlAr/l5faXZmmczLhZiMGatXZKEsWO9WTl/22anT1wnmBmkaf2pfsuGdAX4b5Lgp9+CeGZHDSPgzdUGDhA3V5EhIl2S5li1jGb2FEW4T/tkWi/AGr68b1zLt3pNjLu6snc9B5s4HT9WLoQlsZoiWcOWdQAk57N+zeouT+n8EnfXuVCyS4nso3RnQknTCXDdrq8gtPocaY+qRh1sKdRXWbDM2ho1DlbNpYDn9/MH1ZSn7tNUIxspvkmuJBJQt+yjreUZ27W8MbNw/DOWFf0IH9CxdAtvSp76ETtjJaAM/oxrkyrx4nAvQMMgH+FSqFVs+OEBJ81AcGM/NCTbUcJyW/pFpeW5/7akTJu7Dv6PW8m33Z7dnMcxHn5FTUTRCcZt2mu9xA8zXwzLP7pAgw1/diJpSe3tgzbj8QCbf61jFskDtMTVJDtbPMr2W+nkdOsJzbJ8SJSB4n3SSoXFDAfr8mO5VT1sME6HuciS2oDRfAO1bk25JgiKI+eB66FccuAoTst9CLYendXHlvusi54y+HRXwx7rNL7+rJAWsiF/FWcgM8yeA8RnIocZWnKu41rnexkIraZZjLJ4hVYdThPIvjq5y4yh71/iPJ1h9arCuN5yhDeGfkWLzxb5sd/JiVtZI2zsuEjP7HnSNKDJKzaQQuIcXBO6ymIzqFUj3jaE/Ou5R32d7wc4Gp4lN1jywi/HlfokvGq07Gn9GQQ8uOqO338xal6DNHuNjDNRhoY/Q9Ef0ntdURutFTDZrELenl+/RoaDkBxTuyqmwzehbi37NEKhCyUho0opH+2ryZYsl93MxnzcQCJg1E5qKhHkw5jplCOH8RfhJmy4uHdJjPHUv5u3kY9BbCgpLAWzaKszKjxHlH9taNhsa40YwNEuaOPagFEx+3Ko8R6gvMXhk5UOJJu7c88IvEwpGK9DbovtiklOYqgBr8sjKma4Gr5HsptJJR3rJxuneEVvmGSsalfmU83QPtC/GmHmf6Or/PHWQdtaFZz9KqRMb45yUaXjVlFeE3+ndwFUBShJhzPoUpYMVRBs6MZLih2+3opY43J77xGAY/hNz5eMCGMzxn0qd7HnzUEG6gaoy3MxYnzKDVOGS4io3qr8ZwrrD1bdOyu+BSBEuJ3uhLiGH86tVFd/9e/ukWyxLbvZnLygv/T59Att++jL2K3nofTaNd/GMwrnoc07eJ6r7KT1fmkG0CnepIXigP1k3mYzKJw9W3xaGGFMNVa24Kdf0SnV0zV2AQIW5VY1jcvHTZjnxDwaa5+jpEsWSbtchv263qURZnO3eGCA7Yik6357vMxMd5TxV0EY8BPhEpKl6aDhZVKe/xlqNGdOhQSJogteBfvFkp5LhUVALrgZw1ILwha8v5w/V43ngvC0I024IUnyTIeupIortxcjn2WG252N9QlnSZZWL6qMT4VoQvuvWicpKp5CzVqq2yENYsaqaxbChLtwmeM6lg0feGgEdfqCWKhsppzhOHuqWFBDp1B7/f6ygdRe5QrR2kDshtrmk2tf74Y0xLAt7fA5HzxRKH0eOs+U4sY/uiW1AxEvvlOUP8KS3ZoEMx0rXToREPG37iJ6wuMU0+zV0xMhNfVFdhVaYPFeBLG3/VtGu0Kc+5WUHuqkKtfKEky0ROWxzG/kk8dwc+rkQ5norkSKUkppZAPuRPfevXc/7yZ68BiBxcbUPKIfFxudWfxJzu3sth50izxRDVJfI/rgb+HH6z0TpYhpU06woZ8wDZimYav/3/mwTuyb1OohpFymedUWHN9ztazeUgwQMoB6aNdotQbUCcqZkTGd3RL50S2yH28nUN83lDy5TjC3qFcH9u+gG3HwQWRjSM8YK9UzusoCjV0KXJSlj0LQtpDrcwqtygIK9/PtTkGrrsdjHILsCc13pl3k9VRUH3AyAM3xhGKU1d782ej6Dg0s3JC+o6KQK6MUDSMcqi2srhlgG/2/f+Zo7dTDGeSJ299EvDpa28JoRYP06O+7cTyDiK3qMlWM1Y3u404CaCQ9/IE0OZ78bJYDxtb0hTmyabJ05MRB8CNuYiZbZnJlZQsprdi1p1+qVgnO0+jpOcttA+LVodorg1hBPsGDYGAZvKMqZULOmolsOpA4aVnEKfEwhswisYfztEZFL4g8UFvEmDXZG6tzgNDerQVVUkcjjqeXKVXx+hI0qjKTmNVhYTLIYA5DJsP9JTz+yyWEty2KzYfP+8y19GXsvWhXliFUMNlq+RpF3bJOMAUKQ1DgTTPRmYaEUFEOp4Dzy8NkWQA+Nqh2MlqMHCZqNIZl0RN2d+0otTPa3AUsdujSgvNl3BaNDPuohEHjjghrxIMDt+AeqhZQthWCOp/wKO+t7RMElagwfAczqQpthqYkfTyV/xmQkqFEcw7SNMn3ApctJQzCJVh+sb00Y1Z2tDIgYdgZEnuzRMVgBr4JaELCPQIcRrfAhpF6UsKHEaaiftZuGW8x/LTyLSBJeUhPU2OmKwnWjbUhG4k50s+bqiGWT5RGegV16e1KbR6n6bmW4qWNT+ts9AuWv7pVy+GMnt1OCg8TolP4pVNmvE7/0WdjRHwrsL1V3XESqUlYHJ6HjAdLq6PnxkKnmTUrv99CSzHNu/DTa1NHQLfaGCR+iMarCdrA9z0YVC7xTLA49TKTZt3Bunjz5GRD6m+KB8J6IwPogSS5QjRKtNZBMHsKm0R387lSIVUGaQ22txga6vR5TaL6Ysk0V2jcnCcTzNYn2E+3ekMHC1BmX0UtqfF6fi2Owj6TreLjxF7xIBW2YT7U3PG8/I2hwQqhkCRbDxyOOr/dR3LvH3cpTvxfHOC02lItvEY3jri34d9ktkvt0MRfNK5WPOs9qKS/FI3QXr0mWnxSDVGmxEuUmtJvjywl/1jtiM5cPXwM0vewuVdtykxVRbojOA3WDLKb1bN1InlmrcoLoAIKIvw3AWAfzD4UkqNHZhEr8893cFM3EWqIFSVTE21V32+r7280sQGKuATSt3g73s8rMy/mTKfRa27VwoA1Z4Vh1Mbscd3YDbz3Z81qrE8k1EJbwEWHhH5gX+xD2IJwDZOUz5Xr0Fxv7YjvYMyJaWAyS7CwBv/Hh0K6eOlv6th8gT+QdaZ8hJZ7Q/lgTMOxkKuvW2dedrZz9g1Rg05FhvNHjtozujRBLp1y7D5H7pz6RRTLkQZ2nVd0NiLvzwcjMCHpYlKEFO57VaE6rXCWCFo/+pd9lSlqF0jy2FpAxs3ywvmw/h+2y8Yd58R8BUCj+Z9QMlXGnI8Aj49eVMdzvjpgI73y8TEvPZf3VqANUfuyZJT947Ecajxe03kDmO4HUKMr9Kj1aK5hQtskEnnFp/lWcL891RIDb5vt//8zYCwe6euQA4X7nIVsF7U0QQvkryF9cNBWgy9sZtUpJIKEHvuJE31VHoaeubmg5fY4fcfEz/AMF7bTbXyJWorMgqcKfwCil1gTQ7UIN8J25CFpVprzpwzIYENm+qSjcBugVPRtWGh+gv6TioedEirxMTsuC8a2lojBGDZR82wjM09IeeR7gv/UNRNM5sqm+Tr+U4EDY+Gkm5zaf5eLKgKn1dpq2ojoCtnuUbUFkXrNuFBC8em/u1CkUTVRwXA/LIwi3i48+C6DHv00kppVVuVb85F45q23x4yp5lYpjn0/0LiVD/MF+BOFujVAFemOMDYwGS2h1bKuP3Jmg2Dt1u8DJJCxqrYJucgVDgknWTMaHO7l9mT4W3xUazyUynrZGCdGouoFbml/kKpA3AsQZirNBHzQomkeNtd7cDuLOjLTDj90sD7TmDRFQAHYv7k8qcV39OgzOKqBIq+4DEFW8Nbhs85KGBso8HJZmrWvgtuLMSghWgZ6SyhBMf+N6Fv/uismN8Q1RWSXlrgo7mJF/sOslelqwkrmBxLoReQ28m9UJIpIx7Dd4m1DIV4eKwE5ZfLq7+DVjxteIT9GiPrmaAe5Nm/17nuylg7w2UL54YyIGiXYXu/ccZ4VhE1+3vEF2JMwT8M+1T7KnUcvoi60dbi0VuSLtqmLm60c2Deve+BRy6CwiR7hAkFVYV5xHUE7E+2l+qHRF+BZ5V5kpzcmujloti7B52ZwlwCJr5av0xXIiH7yOHimiKAo8RjhHWklmRLYx/4MEOXWuqOlxD5gLdQwf2FBmX9zAdplR3r8J8vdoe6n9gMgrcy81rcO6xYOY9s66949zLN4lvbs+c5BQfA2qRAUwdzebm0SHE12Pw7DhG1CvBoN8CeAv87Byg+UC3TLlMScMqnBlo10kSYQnXEbtW+vymMvTvOvFThrafWVCJ4Syq9/yg6TUNvBFz+1V6Bgt9lGgv9Pk9jFgoMKBoJQQ/fnW8xCGqHl5TQlFgVZtl/8Cj2Cj7zD9KzwtFZOF914LuGGBflm7BUEGTVeWnYUZ998OEGnoN1VePOvknFFLQnwbXqCYc6XBboimuO8SevOrTVEVssq1C6jsCPhg7/fLoinfxh8QMANyHmP/7u0YfaYxv6wR91yLHo33FiaTak/y5ga7PTAtzKCNUiX+mM3OGnwTl1U8uZBC9RfcakRtmHIcRkUxapE5A1XQin1HgNJ1X/8II3RPG+8nRJW3VbzEMP3rc77TNtIU+eOSsxov3HW/vJI0oC84+ewdUVhprZ1yow9tytg8WrYwaFtPovCU1N0xnbSVYwa7AMpMlQWP9XQC0ya014zae+wXhjRirLIbLA67EZi4zheqXHJJSRB4rJuZ1FtCgAJGYrCU5V5DUl3qi25sFAWdPyrgVPvu9bxcCWg1Flf0G5Dn8YiRvDAExx6du9PwjGKHeoZvvMJfpWsVgtqk7RrOJ//Dct6QWDSoTQSY5dazJyENx9gEj9Cvj0dxUzQBsbzZ7EQuXdYLladaKpVUMfvT+3ECvjQ1qszYzvHfJoqHH/utpXVqHWOyXFmgHC7XZVM357kD1b8EL4570qBHh++gGmsFfqpsPlaPwI9e49B1WTBRoCO6xIllCyT4IPyy5Hl5grCPmkDXVA13sd9JmAl2FdLj0juyB96SufzSMzwDIx3PDybaw+WRlHxKFOBQEkfMILxGRQFhkiOf5VVu7NeSSIwp3hg8q1UXFf9bKakhNbAEx6GLTLVpTdeiLpyt6K1lD0NIKCOblRX9lR2hyW4Xru363TkxLx8bgFlGAcqFpiLHn1UO2ITp0/TM7p5eKvrBDCECQim8PDU289l5z8ru2NCfmAdlfoS2Bc6hWYgEG7w1KOCXcq685Ua60zqI0JW/c4fnzz4wY3i6sBT63KPh59RT7YnQiRTdU6WkiZSNolcAXKgVZBew1LI84WhZlQFVb5tQtXKksi5gP6oPGocwJwueEIz1w3qcjO5PB+bHA5mTpu9GOJPC0qmqDQ8xivtwANtFRhANhhLgF4au4SthUHEJGC4vR3MYdQnagoHigz6g4H9GMQZ7m7LE320lBNWhex7khMhTKw1ebfWJJcBnjYrV/M24GlMTzC6p1tyIU4TZspKYv2iCfh0sl3eSlZtpSuPsUnXbfb9SZ90nMsDQdhvwc4x6FRx+HpGq45MNQmLYRkfsIvgKQebplxqbsiJ0bDZva1AXGHIRtP/8r581q2EMMbnqKe1pA7dDrg+3HqYSZrbzWvk4MKFmVHawVkBBy6hPadbwZcahhST9yrVZcPVrqM1fCAx1mmqLXs9g05wENCDhEPzRzEnD+gZ8d0ZoVeDiiv/5+dtXEzvYo9lNs77YbiSYJCh+8SxfuqzgjTOQKCPCjTp52jk2XEPdZ6feYOqIJ/PqqZnNDdqQBw7iRvVAWb1Km1ny0eGta0Un8SebONsp68EutCh6MobuTfGrIdbHvcPFUAAj20QX+vW6IZ8yceBCVUYNgeY1D1j/R51A/P2BWK4FrITyYDysgO/fesBaggrm5DC8tn39c7TvvKDLL182wOkjfd3ysYqDthacj3hTlOfoKIyBTh1PELHAvFD+tGqX0YAjsYA7IHD2Mu+RFtKZSNKkvt/LrNNIBs7PA+kE2ZAJhE1wH3AIvGNUEdjkKkVFvAVgFdnV9+QpuBVsMsxYSy+3Bx+tJMk+iopSpd33FHBRO6LsmXpuP6eguW5JpKNRjnB4KN0bzCeLo4K0qDCtrJLTws/2a+GtPa+4hHtuVdZiDBB7XOBRbAAOuQKdgtVTLbEw2gsKycUyetfmfkzdgcGJgRC3IEjHRoeXqDxczO4fM8Th67Sw3/Wi8y7uaatPkG5vyCQNfzH6+tT+5za1z3c34dQcRm4bq8xjK1Qa7BwDkIQJ96aZdIb/EtAVBPnnhLsbQPehz8ZE15I5lIWkqVeIaZtL/flYsJRjNk8BcalenjEem+pCcAM7pg9JkaggEGV+X67c2IPHo1BKS8Y6awzl6nUTmgeBCwGBj/PaCY1Icnhwt+t0PKidXfgM4uE1wmj3edqp6uqxDYRovTEEQ6hGn/i2+/pKdY47lpPcTHOB+0OA2aVPhKvXsYUFyIqgAQAJAcx9xnYeArsPhhbPRjmaHNVDX3oiwAKONIRYjHAO4UnPdfHeAVOcY8Ln1gglhy731+9MXweS23jVM3tQvBpUlcIWDgCcpwKccVvq+o9Yl2daY4sIq314O1+TDiLjWdLi8O4NmITjmMnNlmx1H8n0uQjm6VRpBG9bh0Lrn7tFA/3eMMtY8q8Pw26eYrQN1HenKBUZYWEWIZEDMyrmbwpzEYSCZfXc1gJXgzCbvnTak5m+0NFfo8A0vIB8LTCxthzqBTEH116+7Nz8CzS0IeHjBbtekumhUJkNayMrH5pL0Gb1f7gtnINeQS7+75Xjpw7yU4C8xcx0xfy0Q4pDtEctS0rft57MoqYLvYVY7W+ngjsX4RnQVkRGVvC+OHbts0dZJAkhvjvzKNTeg9zo4iaaRwv2xK+RIcuDiJkfqPDigQwaEp/xlbJFDtLtmEh8cQRjM1dT8wYaQ0lec7qGQ1LPV1dHEf/OiJju8ausPwVIhX953hlndyOFC1BfLKQq/hCoVpl2jybKQ7d9btjv/tPzarCGu63u7yIMEjFTj/2bNwwB+yk9neEwZXGkexy/zv97147pDHPCGvJIwz4z8CxWsuiyCatsPZM9cp8B6jUDsRMXVtgC+6TzXlC8/RoL49ptlFxI/q7yqg+XlcztbhCsh1FDM6ZLANDFqlfLV9KLrpSo4C0bOhZzHVqI8k2yX5Atg/I+PnJnaYzqAmG6OLQe6WVbVFhNFmHx3uPAcIu0d5wjn6FBIFuvGn+Hf/QAFCMEx/t5O6csEc2ckVX+cf0oh1oM0hWNawUWvLA6chIRmFnwgrva+pAn7KelO+EMeJH0UiG4kGAd6JuqlcyrB+aNQFmOfecDy4fBUaJPNhBqMwZswoVXQNcFeZMJlIfR5vm4SFPbSMLyt0kR42UWyxVmuda+HXxhkU7C+kil5rPvstESRrv5KyCIYpYJd6V0crrI6AEXCT2r8O45os9yf6XMOyQXfTBfDQQjk7fCFMOdBH9pjsbxeKvnGBupm9Y0rFcz948qzvHNieKqVanGuCKrXf/8JOErIKgJ6fx/LOxWtggpNaIl2eoAqjAckRALdehLnxPHZauFrUgzPtGtf8GyK+VudSFh1BNI54+ShSSEj2U52qsNb+kPN+2a29dHDdfgFVxNbuikThT7+EV9zg0cwbvWqV0B7RvdxvodA1/PrKmQviOe5yjQxN6MQ4kIdL8/xabtUd8GuWF1fnofbN7w4fVBMOf2dFnoTbQTq9zRgLAsxwY/b/2BTHuOlXCqV7TSwu0aXYOf0Iiz6Qpc2GQFMZKToC96i2ZFZxB83CTAdB5egNdTIGUmLRy/2lAvvhhK05qECQpxpI3Prt+szmPWj6FyYGYl8ZGGYaW/8Qis0maQUhXQ5XhFXjiiERHme8Qnu613TO2LjmRLTr4dJXOjOz3s4g8IipfvBfvIm3M6ZnFiZno3sqtZ3/9qqglro/DUovao+VZmX9zfy/C56e3qkGzzvAFBxrqTSdYhBCl9Bav6PrMbB0xPdDdkdfvNvVn2Jq5Vx8/tovFmWkOrE3bLzVtz5GToE6VVek/UeN24aFBUB6feXDfHISdauUBjsqh/1cnsLxB75RyEYDsmxnQnKMe5G6qqEaEnOtZm4HtHTr0p51Tj/WZlRiSQtbCCQu0s6tSDeylTQ+lM/tGTCNTC/8W9qvzhDv3yi/NmlymrimpQ+XWzw994M7jeHksQmZIs5KPTTBg8MotXEcV8u4MbU2NJ60k7CYIKgwoPZ5jnv/mbKcwkHJaoigPbEroUYAm7D30EgQSWFegek29FOQSfOM7fNtFGw1tp0xMpABgAoRd2F2U8IzDnVs0AwuuTl2oAWzj88NynvbgXX2N0Effvxc/c4fVs+FZSjKsx8k7Snx7lpPct+JTGmg2kYp7hxlxX4IzINzAhQd9Aqy4rCyuORFrWm4znavk6zCbamE4sx5AnE4ye456QfvRxvQJ48Cs+3uXC+mZO30+C0xUxECKt/TX/RdX31A5Qj+RBvnYi5NWD2XCrP+jDI8cHIofoBu7htw3zW71RnzW1p0SSpsakEr90X9Ne+WwiOgr3yw3hTPRLdIPmtF2fUMxjjhp38cLhk83HZl657ag8Tty7q0YjuF/JBVx+4WFfGczohqc39pm57XfBFHRSAl7rUBLmI2xt/qo/QDvpQCT7jtNhvyOsZaaoqbeQq42owTiCXsvUMDAOzJcqxzO7Hju0WjhNIsqNHWitHh/OnLib5wMNjXDrsQ/f3owPMDybgiLIIJbJr9xRk1XElarifvZ+WRfr7ZFsh1a8k+s8hN9YKNCi+Cj5B45ldoHe0FYnUjsynoLb8yeUICgkymNvPgqpbo9oXCynvA5xjo3erxNZLF/3tnY/+brc5Fb+EVTJ96Myh3rVJQnM1/JUWjRN1brTvahFNflkmVop/mGTSml0YVRZin9N9w/aT+VUkOqnevqNVKGswNCOVMelK9g0Sn0TScOoThU2rCasPI22FqjzdrOG6J1hY+aI4q7wP0g21qHTiWCPPfOjSZ1WzZ+zjzjJdDoiWGVMHMD/ODD0jcQxduR/0/NPwuRW8eKCj25ljj3QllKhmN/CeuT1wcq4oy0s34Zu/H48T7olJFIibE+PY3S2dp8tEe32YVsUTx9cQxKO7Q+exBY20+LAHwqJwsgPfjDC9AUFHEU7G5dXULnffAp9KkgVCeBik0EJJ63CjeKRCgVhDwxgZnEkNOqFSa7JD38NEdWFAQrdnE38wvSxF0z98UV8UF8Q0JC5KVpLjjdhp1e6rbpoGx9kSf4hIrGof5agkMZxdUsxBi1yV66MKTcI7gT/zNSBHWfNxyrZcJEmxxZWAiss1QWnjPJmr+TSgPqo/4oXcTktQU3L+clsegLx1Pl1hyaJpQAR8qQS/Ujemw2B0yjTksSsanuA3rhw/Y5sHp6DRjVFrIqUs/x5A53zi+/nbNJCp7i9OSOb4kHhMkwSkFI6Qe+jEcVka8C9/wu0U5fW4qzLnQmgqJSqkdAa96J0D6RYEawCxSSS922JzPfoByx9M85k+bDKPCIN2cTrMdSQf4a2jrDOoVncYNvsdHbleUo0Wxp9bR/DPJKmhQFd8WF7Z/gCvk1BuPbxW76cRu6+415SqzW1vS3syMm6bw0C5EFcnFCZ9xK5RPThlLkbh4mqHq3pITvEOD9DziXFiMwJBOAWQ+gjyEnwHVvFs/ff3geXYfEgWXFjpzHWoCZ5FvcrhJtvfsePxjrxeej915AL4w0LJpd8LWI4y4OUe+FWk3hKvQ/0ys9G4p0YE2B9NutIrt4vfZ2Jzg2x4iehEOor2Q0BsRYejD+AmoWszfn5tBR+Kbi5jpOBw7vIP7X9vGe4AbN5M+72VnFX5Dil0/liR8UwmRG1kJfJValD9csOX3aiB+ejEIE9UakhvtGsG/qzsX/FDb88HjWZBM4k/jnI6GBBIK4wbt+mgXrSN+MAEqvLRA39Qb1Hm8qTEpPO3Kp5mrCweyTTjH9m09pIeLahucRWzW8VzEjm1BfUupSjAqDWdVGe59qELmMJKu+6Kfcu8CHuiwTB+6kyQ8dZbzhX3Sq2SFwqG1IecaFfG/p6dhA3sgyb6B8cek6F/LiiwFki3qVCh+/JFtyDAgb60GXzC41pW2KOcnsuqwrTncUN6+ZwejzhpJmzWAGMyMnoph2cIUChbg5OnqnjVfZWXuvApze+wRWUBNuIks9QrJ8RqqeeXXCuL2jXTRuX2VMAseqs8ogi3HK1r274G5dM2cDTmwyIkBbMcfQyTjDM8gcZyR3ZdPvQ7HsU/P1WdNzsLFNFdbvQEpRbKXy43m1gM2gWNHW2i9VZIgtcKWC+JJGNmX44rHrtwiqmyxhgVONakDm6s2ev1ugAMc8A9s/NA1YIGmZPIzj3reeA1QKYTAp8pYtadJ5Q7+VzERqpTct3mYmsBQPi4aAiDe5EUjurJ2drtKpxm9O6aZkkR1A7WzBG4zSm2wSCcsyNdrGUFESlyAps55zmlQbXVJK0ypAV4S+VrCdyGW1NS4YCCko1tRz6ZI7RzEOtT1tXFsCZv4LChi7dxupiMZUwVVvgI1jwNJA2NlsljCl1MOYe1EvpmhlZ6HWn39YTkTz2Rs4UDJ1Z1jLMi/Wu4FtIDiFqeuo/7ueGuK4ZomPvTnj/uBWbj/4n7cD94HInBqxnSvPWb1gZWza4UiSboaCgqPlyRSqWEd/29hY9tRSVYLeRiZI9I2z/xcABJ5+b0KtXrdvRkmgVvXfUpfp2265RdLlp7GBRpL8RScwGUft3UreMh7nMY8Txefd5UD4I/LJGzsMX/cYKStd4ikDvz6ji4h4KD65CJ77G6QAkx7HvgGc5DAFYhO/zJc4r8NLsSjN//HeAQQ4LOp4z9smFd5s8/yOSkvq9Qww0a+Yazs/8njYvjt4qoAL5yjKi7vlIKHtERAIVG8trpQBIednCkz4mbnysxkLGcZzDSWbkMW/ekH2h/gvcwnAPdxkA0Lky+w0VU/ViU7ugnyzcfpRBKePsQEwv4iSQzJn2m2b43jTr6lbutMi6xSgZROjqWxR8NABA847iPgXyZUu0+CpLAquodqJAa9QawugczICFRL70YzyG68VD0f8jcZPe3cOybdCyZLMD75N1+Yshfz6Ntq1NKnsGyVU5uDes2GYNa8IQJOPyL3NCHREI8c/cDaN146/y8hsb10/q1H++RBqPoCFZXoN7qSEJhg7qICsew0SCKgPDSyP4e5EGx5OdGrBdSbjL5Mwv0XYbvFSxXHe9z1cpYXrn1VGhBAnhvcwouYegqpl/Rs1e4vkMPZU4d2KCPJEz3wgvJ7zG488jg6WO6Z5WtdNMAj6rsvwtMSuZh5lv1VrOQYskfSrwBiNVtNmEsBhM9erW6QVs8jmQheoo5kEZRQvpH8tefVj2oShsl/PFeiRlWLw6vothGQF9Jg3lYlDg8v5sDo8O2KjHv6377dLNAUAqZ4AHL0YBQU/pBXIgXcKR9PK+PkHNC6yZDkEI4LqV+IH6GwYRfpXhBc+mZ1ghz0fxSXlXY2SH1wy+gendKEQhJh+9hB7tpqueV/PhiAffFOKWDs6Mtw32pYbXtyjZ0/URoZlwkdAZdqA5WRy+6q6XfsMe9FW7Xz5EG95l8FMN0+ccO3RHJSY/pfaDGq+EZzSpiEyC6VHKBe7DeWjb1j819FSlrabZXG1fqaOEgkWkwvrx/RjCuMnrd0S6fPlzxLJDTcfsveo5UF1Lz4TmX0ThDEwZf3lc1COnK8iXNBDN4Hwg8pOQvf8UmqfMN5es6wzWWdAY7Jb5rW2qiNwrvaYVSsr2zsELLheHXS3w0f5o6gUQeeXQsHxjattCBWSatmoOA5Buzz9utISS3ZZc2HmzsI+35ZSkGxPI17gZz92smge0rAKKESn52Vex9mr5kbFarpQYlnjaW0G+0i/6vdt4DBIcgYvYDFkVXvorj2mUYVPKyzKkSg39u4RBBKOj4EmfHna/WaI6sp4sk6RA3rghWSvaV2ioYsDssE0y0qX2sjKQPGP1skKIDLCpHKBj6pJdmtHsfzcVKOOu5WXzN9Tmkrvh65I4vD+bBaNOaUCfH4AITGRooopvohhC5yk4IM+mTTGB6iUL95x5/E9gnXT2IrCNxRvv5t1QVsQhvRk8UZOJD0Nsklp/QjktbXdb6dPkg3gpWj8dd0WVNVk+h6zThd+xfpKZj12gavSTBYAxCn4ypfbTcNB8W+tLYmVKepipS/NIBrlnoVvUisru6ycDU7jsqj5LmJDHHX3OJjBpnb9tdQ5Yss939bftAw729Z0wp7rm0krZNybcKHodsoddnffh4FAMMmWlUUXBo63SxhKoC5/piGDVxbfaEyCGHnQK3XmcOZ/p3jMftrCPETInxyGTPOHmXdzNzx/rLSKFqbSG+E7J/bn6Eo//SrgtPdjTXxVxRf5aREcXtjEsRypUE1h3WBWyhHFN+al8zQTvcvrlfkMk3vwrZ+8DGKjrTyEAhKr2bPPyudK9XXV+EYt0QJ2WCFx0yoqt21RWIYkLB7JmBx/e59buuKV5TL27yEZQ1bVFw029FYPOj+DNXgLfeEifj5/PwSzirQZqgiC3iNflfh3HldHzU4fSYf09dYxumI2nlK/zAhFiVpR8RIcxc7UxXEropBtYnfqPNYqkaxwZZdXiZj4xlCr5yeTR3b7ermIH3f4PY2Pt112mEtHBysV7q8q/O50B8Fq33D3IM93nAXqzZBtMKAmo6gM2dWCgHiWaycuSQ59tdEI3MoS/Lq3iUAXG6xDMJS1sAHaAYAmcnMYDbVzJuAXUtQg+LcVaatlKWt4Td1OAUu7ryzEMs1navfAKnNwm75YIxZccK/SKP7OG3c+jlvsOkhA2er/PqPLrQjqaPOEOPWSF+qak73My+JhIDJCAu4c1AGNLAPk+E5KwTQtDaZO0ncwy17zhkoHV4JDcswTbvFaTfwXrlNz3gIvHazMkJz3Wvp2YZN7W6WSsHMl5eA6EOa1ytWy56Z1ExQ0EUwLMBT0oGNFO26r11BAY5nOPYleJ9MyqMAuxiy9xSoV78fZ7i1HjdH4exo505mrzFUE4II3u+Fsfw499obypXkt+37iAPMWM3bXDFGlhKOjPFR5U3LWQz+UbHfQsyhMVpT7otKJ3CnJ29fuW+RfVkOcBIeW9NQ3YhrPg3M5Qf/ujt6piqKxU8gyvqCF5/jicrV4+JcSUnI8j03QTBZOAgZAs/LMZ4DFETo+GKbB5PdGVrTM+a2CeDrW4v6qiXfNSU+yrruPRI0u0U6Nl9UWm+3VuATcyCzLgXmJl348FtqfvOYu7tPYhEGr88CRW0fHlV507Qq+vMdhH37gymDjl5lJlj7QoQFE8nI1QAlEtXgShEVAoKZtBeBN/emYAKsNVEe5IBta1Rbi/JHCOtMszbovUhus8XrJfXJpYLLEisOs3zBHAIt673acHYVnxy6nkQeWRHoBPM1AZVy9o5ZP885eDVO1QIYzsLLUahdqi35dJbVIJh7dCNr6JRRxImZ+99tA8tsYEtp+DqDZpdWUoq7wFEuIy3kncxBwJkk/LKxD+d4Rpy11JIwhCFKdy9BCwiSyfnlw0xnjQBERC7FPs1cgTE9RenWDDqQeNxow3IcJ5COmER/3SdklZCi7UBI3MTMePY4DJLGOB6Kz1d8INtPOD7vLkUqzhLtOfhkCUgbYPLXP2HrdzgOu08vvVjGxApKVCHhixrNHJNKKIDOZleyiz5R8yt2vGMdwebDOJIKQbL1JSnWEkHj73ZD+W98cP1JOf+qEe1k2OWgtU2QXWEaPW6VrRcd2GkQQprTUiDEn56QkTfDwouVESD/VeFFX8CHrD0IWxgy9llkOqCNlrc1CtaIxOdxV5BlRXymsgjgCLvuNM9qcxObZzcnBYg08doNGLtCz0z1y3lGrQyw8KQSW+KG/gqEJsPStK0IXWzT+BANRTGDktLJaCoop8qkZAxceDy0PjPQIgbIfrk0ieL1Am4IMa22Y5t1zBzGFsorzuGxFlcCnZKT2bqpNGoDIl+fNipbM5Fs5Douof2TmQ1Mv05ge5+VyDc5+85l+q/zFY7LNXGWxMkZmrH+HQpZxOFx+d14BdLzcxCz1TRbCd6mVUcrmbHSrffEgRIP/jwxvBKyyVP5XL0Y7o40FBrT3dozBFfOCfvFXeoU2PYsjCcMHl3bLrl9GlTqfGe1w7tt2pQVdaZR2YW0eD0FsntJe3RGxJ5hmPbowDbLHd/DHpHdCfFmuMG4H1AR1hl6nzt9btdgzSjWEPVrrUL52TfHsgIQ6E+OZJMXZ5duJTE56BAbLuyirNkGx38/KtVyOO5vYHSBIWIp1JkxY8kX69FLUve7mftQ5jKNzZ8Nvv+ayACFmWr6fW6iCwhtCIT3eOOgH36TUhpIzceOoCTm0PpKavNEOoPhZZUwCRmbwsqkb/onNZDs+Yxc6ZXW/dSWP8oTLRA/Ime/O+scx3Yq0MhSW1NZNBnAyUiHEk3xEZzkZN3tQz+34hAobKKoVUJRHIhgUr+yAfS/L71hq88TglNdlvpxfXzcEpBD0Bwkgr0k1c2EZYZLiw6YgkIOFMc0x0PNDBCdfoAUJQJ++HSRvLDjRxZ7MSjKtIedohkvbT76C9tEwbXiYQmRiPWILtUaOEr9dyIMTQTtNUvD/sZkgxojGwX2go83QgnixONsth7FVTsSFOiT8TjXwo5kyd9qH755QKl9srfYM3NsKbAWujEmlyZEmzNxN/advP2LOOWtKE8LlqBKYpbJR4qBn2Jo5S2tNSc1gq6In+bE+4+OE8teaO+d2XKyai8MUjJgVLO4+YO0C/uQJ+iwBPhD5DSS6dLB5eQhLuejnaE8zja5s/JcIfLGE7oHdUxrA2D39UnrCOQQ2fF2jpK2WosqtVj0QtZtponRRFRugEwpSHU4GEFrq2wIIl9l0d0+UJKRtk2kSFW4EPO34EVQG+mpDUqBr09IQgnenY4A9bkpptC7g7RmeFLXlTNTDB/UB/txBH4wTJSVpA1YwtqEYoNPHAKW6zqO/YTRF9NvvNFS9a/0cMG9fF1rTy2gVj6g0jOkE+4TrZhJoaAEeMrjyk+hnl7GPTv3o4DaV75vBRLc4n/Kx+PkZg0irDMF/KVMs/lTCChQD9fPjkTTE9pCVGpMRNhdzAugiV6ihRuwlH6Xfusxhq8kxajhJOnnosCU77XZlZrkoSSAg05mci4OTskbDjWv5DzSBHJd621QTa3/oKrQJ/UrktlsUQjsBMMvjGT0LCK058YXuRMNJbe6lqloYv8xRf8Eab0CLa4wlrSpwka5pj5WqBl0hariQeDKqHUil04Sspc2rcRmuRWw0Md37bwh+ZShesi7S5khb2UwAq2/zLpP945mHNHemE46u7xnbZ9SuiPBnWYR37/vEpLACMu8DXve7xSNx+FvTGD9jcHsO3A3JUrm3+Zz2Yh9/BBx7iwm4t3RsXHBXXe2bClbqWK1/ii5/Qfj2U+50LPjIW1JMXDdJiMfnhhF4AHvQjjWBqaRbwY4/3/Jge8poBtcbGIa4lCJ2bbkQmsMGoA1+xZxs94ZCtRmxITb383USBzoTOWnpIBMGJBs6FdwkfWkGkl5q2oCq/7ng4vjUdscEcrqO+isf0ZIIZPX5KhKQ3n4KOhr5jFNXodrefV0I41xXsf2FYTZfdhSE1q51o+t/u4gRF+EhzZHASE1bPmJ+U1SXmi+O2kCoHyzY1BQGvFSMPT0l+TWNqmccE/vV2TuAR1xDGjui5FzcNuhcEwVikrv20UXnsufeI00cNbeDzPpVjeJVTYjfptkPXy/ZgYuAdNl5K1QfCMKNrW4JmBrUbpnD+dQI2XQQdIqP3kTrl8H2yUJhrOHi+XDZVx5/XW1jWuvl+uQ5bfXsb+8L3GikWQsTsglXzlxHgeuh8+YSG5z/h1/iEJROib8Pv9GgT5qd80taOPD5nIFqhv6n2zw83nk6yRw5EyMMkFVYYFYn3D/ZpvhH/dCp4Y6o/k5whVtByFFd5j+I5LoWaJIV2oe01zKvv5YpyVxSDa9128f91tIZ8jbngQBJECzbvpby0Ahysclw4eELPabwgl5WcQxGPbDqwe7tIdaeUm3R/oZ92MIcTZy2C87w5R8JWyEKzvLRnDHE7zxyXlxbZ364Ye4wcbQ5zQl1TNHY1Bq2xge56yn9xwreeR683/IR1F/fd0QsSwPP4UGrC6gmH7lHu+vUmg7MN9BqAxglarfJ7ccTWdl45J4JVxXYT+CqmeMiSUmNOjsh9BGgxs14NbT4rGsJ8u9+OJvh15vyHBECWsuUfDqZcs3Y0MxdBTVfQ49CB+ystMEQ1i90jcHsc6woXHf1QjVOsKJoS48Zrra/X7ulJmXw7udmpKdMN+Uybzjcg5js3jORuhTYNifMr9tVdE8K8TXO0Uh2CydjfRtYyzT16NOtNhI2do1tf6YWeZDazgaaizG8QhW0vYHB64KfFog7Rzb+vCEGignHa8Q3LZFcLeie62XYXoPrPd6bIib3dWIKp9mrwe5yht7USne+R2C6GTN1wGH84bbXrpvcjzE/y5kS55Hn5aRvPZoOjiKbv0oyMxQpmndeSF2Cy6X0qN6pFCSV4Q2IZf9yciAZSfYkKjwOq4sucOeSeNTOmpGEr4+pWDp2BmACiEIfHiHzsyHXNbGQ2omBbljvi0VDQfogBYOiiAQPLdLAohbr1s5eHdyCP7ZZLDYNyqKtl9Sh0g2ir84onSoGNAkqboaVKsNoA7K9yuzzlgk3C+UAsAyel9OIIFpQqMob0diFrqBCsiUzN7qRWGkeQvwNKrmXZNC7lqHO+gG8x3jpKgOg8A8yG9L4wibtfhkVLd7ztxURBHKwGdFAkV0McKcOD3yp/jBM6bSg4wnRtNrdLU+YySTHPTiq3zZbccPN3+KzSZNLSLuARQ/CUq+9KIkABkdcaj45PE5RUp8uIuvHIK4/MSnOuQaG7aa7NwZNSgnAAN/e5+MwAc9FG7iE8yRxDwO1xZMlcRO2xbZ9PBkVHOVOJFnVGzYuO8QNrbfGmy7nDebctlS7hfE/CVbcPiUyqKIQqLN5EIrBajYlAb+uid647JIXU6uxnbCTpSXV6Q6+eqh41e1NV53WQ4Xdu76G1jKmEmp6Ug+wgKGbKqn7zLjQwmjLTN5Tveva0h1/4QDkhIOEIYpo4wdj6aBb0vgG/sq8lVVoOWngW2RFzbU5KcKZMA6wbYuwK8RJsAjKolmRIL5SfBR0/zQAzk60lD2eBr8HEU6R+AtK2MLT4rFex75MBND1NcKHPHkh+Pi04c+nbYYIIwOqGby4LMmIko2liMhKz1pf556tJ3aRRw82qFZf6C92vOzC9qk0kSamzJ/DsOqNZNb2BXPK4/DUJYKlUDqUFfnVxjOFPWoAD6tU5FFL5ZLQTY0mBXXxOnWDo3Wj55WVGlxkSlL5kCsmG0XaIaKlIU/5CxgWHmFQZYyQz4lLlmtR8j7PhgPFxyHEEzYQ1YbCPAaoWoTiL3XCOg/EP1+L17zToXoK4jO2gJ9dNjHPSCrYnKhcNUVBU+09RmH5QIH9329YWv8JjaXQiwN+V+xM5tN9cAj86/4szYEIyXCbf/5uyIbehTh68NNuV46Dn7a3fQ2njyDT+sJZMCvyDMcy7YbGjiJ8YQnyZ9StE+KSH20tB/evEdsdqnlZVod8lpW7AMG6vRABaQfieXGDAtwaeFaYAPl4e27KkWBJ1E6fkrMqVjV/ncKuoDGUiyBA9UzB6xi4BnMWDCIzajvxFwPlJrM/uVQHKJxLzeicr0Nf4Tw76jz0qyomyDr/vJn+AQrIOkXwrK/6/VeCdq+dwrD3oQvJafNfL9vlvMpYZ1Y6KhBCH/ZvkHzLOAn1ie4h9TXUqvFOO6tYyuXQQ63i+9sHcH6Tg53JZv1q7OqfBXpOQjRKyOvqvWHajlvRj3OcCpvfXDCugPvWA5mE3PYM64SgQrSqwsRqf6Y1blhzkHER6+YU5F35UEyjHtlJWcSVfYih623wtGrEh/Vyn7XwHBWbg10LveJVzMNB2OMm1EXbjuTd+iM1DqCwFsD/PXIDdO88TopBhv/FhmQiDcHD5YRE7cEvhmsnHI+HUdaTZgLPey1avQvTOxG1zRenUxhxe9XuAkuIiQ263UKHOAzFS7yLNGzXI5InsCoKdTlGQAW+hXFco3sBGci4ret0Tko1hnDAPcZJeSCSa1dqcADbc0aGWB/bgsg54TWTCa0TuJBbVdnvUyqJVv3jHs9ESb6JgZZwyeFXFJTwKVs2wJK6V/eRg1fGwdwdRzroSVNm+VWkLY2Mj2oZ/SIYhtbnKXmMNfjmQYSkF70K7K1cDnSWD0XtgxjPruqV9HUW/3gDr6OWFScMX0uK7Q/NGM5klRQVTij1sS/UIWDlKKkM5XvfdJVA+nUtdC4GYeUy4xI0Di0xdTfwZij77WGedMGsjRrdOS0jtZqt5uCYigfwww4ZwGN5X+zGrs8+aZoQXnp/M+1UKkp9uRBkZTDmkt7WLgUZOCiDpGjp+IYVhQ0AxLkkRjy5w6BYA6XGw3x6cME1Io=" title="Mekko Graphics Chart">
            <a:extLst>
              <a:ext uri="{FF2B5EF4-FFF2-40B4-BE49-F238E27FC236}">
                <a16:creationId xmlns:a16="http://schemas.microsoft.com/office/drawing/2014/main" id="{723F13EC-AF11-4F1C-9109-874F408AA876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572105" y="1698210"/>
            <a:ext cx="4136666" cy="4876912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7092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MRUCOLORS" val="&lt;?xml version=&quot;1.0&quot; encoding=&quot;utf-8&quot;?&gt;&#10;&lt;MRU&gt;&#10;  &lt;CustomColorsMRU&gt;&#10;    &lt;Color aRGB=&quot;FFDC6D00&quot; Intensity=&quot;3&quot; /&gt;&#10;    &lt;Color aRGB=&quot;FFFFFF00&quot; Intensity=&quot;1&quot; /&gt;&#10;    &lt;Color aRGB=&quot;FFFFBE5E&quot; Intensity=&quot;1&quot; /&gt;&#10;    &lt;Color aRGB=&quot;FFFFC48A&quot; Intensity=&quot;1&quot; /&gt;&#10;  &lt;/CustomColorsMRU&gt;&#10;  &lt;ColorsPatternsMRU&gt;&#10;    &lt;Button ID=&quot;menuSeriesColor&quot; Color=&quot;9&quot; /&gt;&#10;    &lt;Button ID=&quot;menuSegmentColor&quot; Color=&quot;1&quot; /&gt;&#10;    &lt;Button ID=&quot;menuFontColor&quot; Color=&quot;1&quot; /&gt;&#10;    &lt;Button ID=&quot;menuSeriesBorderColor&quot; Color=&quot;1&quot; /&gt;&#10;    &lt;Button ID=&quot;menuSegmentBorderColor&quot; Color=&quot;1&quot; /&gt;&#10;  &lt;/ColorsPatternsMRU&gt;&#10;&lt;/MRU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TAGS" val="1"/>
  <p:tag name="MEKKOXML1" val="4HooU0THZk28POP9trq+pbTvvzd/gcV8t56cq85kb3NDTsUhojRA0EsgEHHMH7oYP1SYpn09ysXVivguJdhTvfyVMsBLTGvcX7WPTor/CmVyQVjyokM7xlm8PFv6NJ3Ll+Pd0t1RM1iWRMiTsCLr+UhIBvjywlwAple2qtJvWKUbSyr5NNeGskRUvQFHaRCBJ3dzesu0anvzgA0qGEKPwTFuhn4a/Ef6tv8WdokKfJHV0Zmoi7o8JxIWScKaTyFTG3N+7SNMN/Lv3HJTT1KPdX2nlRv84eD9eRunTh+V936V98rM67AmjsujNPsiw0xSnLrvzbh4bxZ5jUYK63azxf42wLR/nYiLFAJ43ENEzjZtOKbN89MKz7HYKDPlnAB8fQBXQ2NCldW6kuvmy38TlBlHveq4eEsAWrQVk1pZLgEFNTSfrbwFgcTCXcSzCfLlD33TvGUAU9zPUcqnbSyOT5ajqAty7dnv3c0PF77bYnzOlmFB1MFG5zHG8FIEH3WiI1+tsah2IPkpDfmucWMPqVyBWDSqU6YSyQ0bzZe1Hp0NA+CH8c7Fiza460ZU2YxUMF0gjzfg+lwvrMu+XsZEIR+H8Rv1oxaq/ov0G8jjRrFrp1+WyauikTZRuRb8X+bVhUzce7fr4Do0KptnWV6Bi2WUuW6M5hspw0yKsXA0Hg+muAOeWKhV9fY+1Kr+enp/d40Isb0ydQzNPaEzkavsxJPmxzgLUFebfa9pgLUEHFZFGi7moknv/3lWuOMOJuY8RF7fa5RGd+o3lNybulTLupZKYBCrGBtopl2IYQGDByocaZEz6jZmnBx7WhXLQUfjMAzFbXen0/a/aAUh+8Gn5xlyJZEXeQQwWckXxHqKo0KhuyzQfXcaTw5rBPhD0f6NSBn+AKIB/7qhTWlPKN/S00XJvGWgoYOsNiV1ocaQeGbjR5cy548shujfjt+gDKp19oiuX9bkZL97S9ksn6BdmZrccXzTRDuBFtCPrHUw8qDU4yJk1/43An8t6bHPpyaC4yo5nCxM1CnLvVUErW16p3Wv/TrFL/c5Z3WFm4RYUJhk9p0ocaa3jEkqO2Rtz2/bn1rAX4mSiz1Y1Su+bHjJgXgAM1WzXvLTiTp1aHYAGxQLKzhIa+jjU9f2yN+1TSfV7gxJx26ymLODcksx8UJLG98ONkdpq1vXgPgucE2rNA4KNEfn+crQzIMAQ2eYyAjIVLwXF4jaqZBiYX/RbQTZry0sTTib5lVAY9syRyvCKvJyevbYE/wxokGmyTLn1154qyv3IP3kxHEDZJPjDYudcVauaZ/PFAaPz1VMJS/1MlhgtN+pBadu5kTRdPJnb2AISVT8Rao7UxdKVvOjWgChiENtYlPVNIGxIudIaU8wXVCfwifjqiWUQtmdfiJlua1lLsuV7LPzvW+CEYeZTMogM7ImveqdWP9GpNAslwpboONgFOWbAkFU18+ISJAVbDcuX3/Cw7HzW0GtxxBXT6ZRW8+mIbIgcLjEyjHZdtIh4A0WSQk8CSNQkiPD29yeRp2hL+dwfzpRwACLqZS0VFLJPZkmFB4dxLG8c56G6e1kyrUIkJkyqa1U77acr7QBsg2rWFuNAI4zAM6foi8dEgrFS/0SA2pKNAn9YMkSHW8Zy1LcfPTnsprUP4FvAfzWAjWgbhPvy9keaMvZx34wadzQRKot+U0TceWGH4qQvbjOfGdOJnanhDKrZOV3gZuIs9QjSWMDQ1mDt/s2CZXgmtgjYEiybfdAvL3oaSPsdp3XpXHcAF8o//U/9FhQ2CPCuGpBp9ztqKsM2DjD/XgjeSpORq5YVmq1xEW+EY2a33gKGugs37oXjw4lTe/SrrKZlvpD+dyOT4hmYKkxqh0bqb5Y8ejd7DZjgNhksbqTmeSHWYFoW1QX9Un3fSxUc9Dzgoi+h1T8wRjcXtXjUnN+8z6m69hsrZUQWx03AdrFi1d6TKyauQqpZDliJAS9Nn9FdWpkHFgA+a6hsEvwEBj7LxBJt2z69pd9Yie14hmHcpqeq8l5/6RwsDcNKBwOWsUX22H5g9ll+TwQHc5L2tbR6MCca5/2T0XI4qYPvVPrmF1lbG7jYJrOuJ6HsaPr7c8e8rFxjSsWeR6v/ZGEPIX7YB0VO8ilQ1ICNdoI0GtC9ZZd82GMaWTFasdvyoAEgwoD6ktaTNRnfZw/4/dlAIM1kcUu9gw6++B7PdVNg8fCfM9ePgNUrlOR2056mXVUlQayQkY6ZLKCf/MKmuSxijWmACyPuWGsuBW+Ld0vsckL838sqLdWQtUExL+vE9AGUhqYUDvZQCFKWxpWCIbwv04avkvhJ8KeV0EuLYVuJFwyD+LfjIr+LMb3V0xPgAhBaXgQ1mmz1P9qngXGMJItyJ7wb9Q/fWtsU1v0bWNB8CIZoAEbLERPsOHFbcOxrOwyxfz2M2o6b6C2zcXxuyPRWSnhAEpY/bb/0czGkMXIt0sKW8QBWE7JNM5vW/oRo2idFQlNng7i5Lffj729BXVEGBizsK699+2j5OYI5FQ13/2+eLT0GLUrD4ftBx/AdX+uSdS7tM167DuqNyJkPQ9A3Rs7b47c+ahBo3i1D10KIOcgnXjNJxk2Twkf6gmiJGIpfiPbjELhog46VbfvjR6jsoi6bKKwxsL0a9dEIjJQChz+adAigBjC0UltaucF0SOrsYehamGJvosXDkfIV3hV8+SoZizw8Vv6vATmKLwASEuiGls74nDe+QYaa1J+S2IpiL9bkgu6+IM8UTjl+NCf5LshV8RTokDXc2hu9SNMl+i7ZYXF63Uqu48yebgr5RCQCXYF3m5B5Qhb4nr/ZOiMUHWSRWxZhpc7JvIfov6DXwEcvlBW4rEokUtchQGzwSXYtQggKS/8ll7LguUsx3N/h00oCwl0XoBKprmoEraZ2v4YLlMEaL48qxbNPXInQNpK/LNriaJO+Lk6A+xhu5fip+OoU6rM6WqIEP+zzY/FKQmTK0slC0Dy85CAvBQXMlgGOZzCLa1+EbAi5Qpl28vXxzNZARLwISLpB/QSzcyZ3zi3WOJgrnu5ZoQIVjAzxAKK3GOgdAakxE5afstMPQ9lYlpMbI8OjRd9Vhw8hyx3kPXzUr95Bud2Vuglj8Wktn0IoULZT+5FswkP+9/02VaDb9Sd4M3yuCCTp1T820ICqFnkZkFYTwCrVy1Wcx2jLrJj0fMo2ilNlE1PNAaZkBTvxxWy9lBajuHDsUcyDSLLsPcmETxFkno3LbgIn8yb9EoPx4rvR9+N7mMbj9z+GxRPuhzrhtBIlxtADrWSO0uCLob5eqr+3xEogO0nzsX2YuLnyS6DbuRENa2Y83DyOWqgnvxoigtTxvf/U7xLGuOYxjtOstgU1cW2gOTILIzgGaMVCZNsIiKVz7rWiCGvm/caHwuQxaXQsWwh+Cnaf6N99IBNBJQqeCznpzVTf+22uI9IAW1mo7Yv7tBlVEZu0WbEUhfppgrAYxxq1g1o8PWb4u/k4OBfSf01aBAqyxCZrpIMV0aEhEZ4WSUwm1udx1XeJm9hmRH4cq+x15NVo7MZGMFiGdrhzyuvgTN8DVTuHXt8KE2nWhN734Ods7pkM1C1POoPYlp25M0mhw+bBu9DnzFsXMn5p/iIl2+VtsEWOtDsNkEZZ49uvAGpQ9O+d5ZFcKZRzJhe44oSi0BUHC8f+7FZQgYit7FiKNYDVuuBEbHRSwtohejhYZJeY/I4jxooPErfGYLC+r2zm2Qkc0Nqr5OTrEG1K8Z+uceW8mqEm3IQt7ejWvhfCua9azYup2FsCNenIlUO65KAiajVgDjRn18dnHeLtFPzL7uFZuM14DYWMVhHkfnSXIaN2e1anzPp3APAXQCqeTxiy0i4dmgbu/wbKFedxYeckETZBEBgvAKFJTbKEIc9d9MchTu/K3dGWf1aniqgzMa+mMWtuPOgpANiGMNy8PrVW/7TTHFuYJdOBAAkYe2QGWNGF+yxnDWo2zDx97BjPyg+VeTKZA/CZFcFWO9L6mP2EPUhCWlo8Scv5dNq/jYz8Ghg79YyEYueffubu/OivgQph/i2/DY9xPxtXhtBMZ+Gker27++rBMcUYcG59CAAbBh2xacvwS6HvjILf91/ez/dKAxfoNnY1BfHVq6nQ2jt1hD3vUKLWeMvSBZiVAgtnLH3opoF9drK7IJtHR8rCt2JwX66COeLVaq2FBVmMkL6QEekTAz5ZLOvc+ry2M4ZgVG893uaTW6uyXiDKrbT5WldeSXVgdV9mTZINis6/s9raVCINEEqN2WAQ3hGo3yj3eg3Yj05CV0y8LHodlq9CCauV8s45Kyc24jpaQ4oeQGfbk0njoMJmVrVX3J0o6enaEhrWms5ipZMfjDqG0zasYPzuOE1FcquTWwQzd9JxOWac8lHGG0exj4KrX/ioJGhqODS+j8+USchjtd+uZAmbkLdU4iOqoEiCiq637Rmj9RVqv29I9zHPRLOmaTlwfZCPMCgUHNd0QMkmxHXEj9r6Y6MtyYWCmdFees2G43P4fJ/oZc8rSEqaznGmWryF/m2MHg/QNktVPz8fEoAjt+vwoDN7wuTSgb9MENDVy56Rpf+du7HVFnDO27LuMsQ4CMjWMPHvBZtvbgMXhE4MlrDeFCigHbTEtWfM0WImPUdMKjwgVOGReVWqtv840egvcIaE4wYSGccw+AZrPiAV/dz7GbWPmI+OuX005BMMPX3eOi9qLR1zNMdBI70AeIDdBveVJd9h/KhUlUrLYCb9JUKJkJWTyGIDQ6OMtJi+To+XZZ6z1JeqD0UL1bDgBGbwGVTtRkB0xMT4pbuYsLHcAmhcOg3W3ZbBEtMspcflLSlGXgKVVyTNeTk7S7+8ULNy/7cau8EQ4LYw9E9899A7DT/bxFfw+Dw09w5TYXkieXKd4TMR4WLeM38aFRBeTfymWny4IxUssNCGJv8b5Wi/Yet2PykaJY0AiQvI+Ov2QSwYR/lntDNz3iQcLJKsi86XaeTWws8iqF37s+bSUgSWG+miIqfc8B1ja+/S9BO9T9I0BggvDWKQ8T1eULoj88e16A1wilorqyTmiidpx6S8a6Wov4M9tP0Y2EKAaf21f/1CEFqQV9UUoy5FtWQsqMKmouCswzLhW2NT1wxG48BOpY8oO4HEYDqpfyusTHQO1+vEUQCgI6k5SLSxmXS2GiCWuWuAc4T5PfSVK5XQyu8/NCGHn9UBNAN5x1YKUHb0ArK2P6krpfg7QybsohKb6m6e+AYherFY3Brcc5E5OFxc96MNNId5DeMbQNHPiD/AI2faO7XA9USPCfyz3kKvhd+pwTDlQA8wYgEAuF4jx6li8M4m6vQt0aiUNZI54FpKqs57MSKOPl2z9gU6L+wSnk9LhoIuSMZv/iEPxc9lu3iMdIAuIiQ/4kXmMcUh8gEzDmop+spaIFaQ81q415D9pDSsmX1kRt+qSSrx00T0pDbkZbySyLN0DofTYonUXrkRL9y0y9VFAMPXZ7D/2E9e3q8gthxPUkl/akO+blxoYlpNiItURpg0+sbCnHxgd9hywoZRnwJYQjns1nn77U+YpoEzQesZex47sh+QqkuUCoPjETX5kkbkGOkQPEcCFqzg3N4Qk65MMG9RP831Uy+IqKg7Wlz7pKoaeKRG6V3Cj7MhAQfMiqZbzNhOR3Dga2FZEETTRkRIJCMxdY0b6ar1tneUz/IBiL3a1nwR5dxlP2L/e9SYirZ8pKda5K6JUyNfKtNFH9LsJG9s+BoDwAfW59YaVpBxXYvEUv9glZbv7kwtPTad2w2bkk3yXNcLiE6qTQ6Hwy5Fl5lmYscrqbZRIWEhCKONUOmgpdlhus7AeQheNJFpk4Gni0+O2+I2C1lvFmteXUuih5YQGVsq/Zxu+ro2QJCs1q7td6DVf5XvfCk9UAN6QE7ktsmc30/sabxsR+X95tTaG+B5HUGP3+ptlSzD7ugku6wZ+08khtWfKMCaKx8Ch2hwND1noWit+tjougY2h+2aulPms4+KCIhPUA9goTT6SgACBlVGtkU5h8m6lm4tnaouatP4Qk7A6w7BKFCzWPYOBMxtAQDjg1x+SP5sIVYDlbpwO/vl4NNiTCTltcI9HhIDodvLuyaxET8QZcaO07JSA1gVlK4A9NUzepURFX2CZ5clRCnbCmfjCeLT7BrO+AJrChkgCme5C8Hnz2gtLgwUHne9OqRKC5dM+JsZQzSjFyLqeppQeLD7NtG2adgneLm1Jymt5oNcCuiDhjnhgmy2oOFHVDe5PKcZqGfKXOuuud3mNs6PfAWYSjG/2ZOmXaZW4IyJsSOXfmebyzF5E6mSMl0NteHQVK2o8oNyGYB0OaYlYydBB5yn+FXLyWCpEiFeukc/aT/6yeiLQ7M25+KSmP4Liy3OvSD1b+kMTAkmrcscgbvw8mDQJwO4vEIR3bbBuEED8tF6mkNzQqNoDThSMbT4chlnaXgUcI+0/8XxjLPMOVjUWeAD/CHh+i1vl33kHJ0t6L5auoqvks3CG1ItRI+RM+vKN1PPV5s484nCzM/iY+wMLgmTX/iMvanbCb13NRn7bOjm0jzy+41utr//ccg+qV59bQJXv9Gr+aW1DhRh9R8aT4BbYwKSAEl+WWOaezuQUoOXMzrL7GXwZ/RpfwAeCFy3uciOV7/Sb+kC7LH9o//xyL5a/ieWv5lM2nXuGr2BBlTHSsOxPgfC5ZFQxvSkr4JUCVfw7BHXZCPtowIb9XuxYJUfGJUxqd44ZAtUoRLFUDfgG4VKBP1gPMvlVmkIB94VVE8l7eJjDJ7QYqBtQEOGQ0Yu0bkfdpBHhlM/xjgdT8iqCizTfipHsFb2Woe6NOux4iBylaA3Qe7ggjp8t2ISgA0IUaVREqZpyEpSfycWZs749RYppD+b6YdpP+PqIaOcMRp+BqXhqqtchsJZHED/LNHF5yJhRHXZ/khE3VF1FCX9NxYFU/EIsxuIgzfQ/kGho62Rfmttcdczm93ibTo1mIXl/reC2RFxc1xDy3YsbjLuYqwG24QIRvrgf3ISP4o4sgJXC+RzpW5ZxbEltvy01xqctAH6uI3xXpm/d3sa2BC/L5vNbUvsyRi9as14oNJ3api4lU5dCBP+C5GJFf3y3iemnishdygelS/uVlILZ8IBxydE0BNRx4SxbK0tskdbIjnp7p5f2vkUjhR+1jZJpcGaOzN2vMMYhWOt0MLLcRAbYVY2apjlt7HFSMSprnrmvZNc8xBWh1bnYmF/PBG9LAYW94DzglNUtrytUXwCGGlMrl9sJZCb2fE/x5u6YJZnHvvoYD8kngB12ROwypgZ7SJkefz7vYNucGiLon271aLroaF79WTsdA1ETQOcD+J+ibzSHkLvXsxfFUzJOcNdi7H0wx43EILHOa/F5Uxt/MaZtFfejRya/UnvlQ2zd2/9Q6yAO6viw3DhORLHFWeBkJ9UmyVq5/sn4NHp8wuzGeqBHYSkCTJdc7GJ+bVqmMkCyzpkCE2OEeSVG2GU3TmWo+6tdL2khPOqE8ar2E7OGfLmIadAkyT+5TX2vpeYkZ0KNW+PsUUBQZyPOVlTKsrUWlNfNgSSTHBQGxBQNHz6hcdnwsdQ5WTvzhj/reOhRLbYLa+g8evh1ywJpdtOL5e0DKHlpJxIhQMO4JRIZuZjbnYhpN8IDqCCbmD5bKWIMcQmZt5t4xliARwIXbAb38s9lxQeUVEEap2UzsDZMWMkwfqderKot55m5JX0iTiGryUDXuX4ieas7Sgg48TRXbFmAMhyNwvK4NvBangRq4KFxvdRPhQp2LbZg4On8OaIf84NXJYR31VbFzlO6x/XdBraGaZIRCiVPWosCDLzkz4/kkzucHUTZPm45QGBMAyDUzDDMBHcHfDBTGyBTyo8fpZ1wNzMnINxzWJ0VFslhuXmhbyvZM0rdsoL50yHiJMTsdKrhF+GsdvBORqbNh+5VX7kYsafo2VQvE+HpoEeYJiROrsIVgSb872LZF9X12WpJtqYepWBGmYBLBM/Ia8dcYwj0bss0maqDgsy+H2ZeEIBgvgfNGPVfObkZewBblAMWPKyXy/Pjfm8tT3tC65gnDmSKrNo8dpuvb1BdofsLPD9SY5vs8nHgyFgawJXWg/2CaJVFkKVxpDIMqGL1GULBe8R/7oYhVqODN9NaDJw7Gl5QqIhwFbFOTmQi24JrDo3CBKenFHa7gh/JX4uA93QXO5Fgn6og9boKdFxDpSiFvoq+3esw0iFnN2BkKEKHUwivC0K26RBZDCOJt7+mvOcCik4G3hdkbYcXi/TbhYsHQTGvtIfeuxGgA2mfCBqIGQOI5qs7fy68X/+deQ/Ahbtf+BfNHnQRve6fLGFsN7PBGAD1m6axhFVuVBWjjaIW11Pzb2iBzsZ3QstaVL6+OCwgicgXpHEdT8wGxu0P8xtMH8kELsruHsTOUJUTMXMZsCIxH9jpqtv09l69Bra2dta/xZHoQ/kAJNT41PY20ALEwZT48GldPWj2ehavTWpU3DGE12mkMoFfCbq0TeA1Sc3PEbJxMptc4fPIUl0SNmbJAPrCNfQAKlDFUhg85IVKgEt/ljTk3bMpDqocN3hH5hYxLXmEL/DLZXHQkNvJ0/YS28cpdB5R8n1IXr1x/gCENPIys1gc6DIh9PQtX3QmkgFOySXzIQR6aPqqoj1yVNTtSawfbxyBKqtGZfx4XqXxvPBmahjhuck45FMhdxO7HKwfr3qOPxMojLSk4KUghRVj6yFZjKcTEZHEV9JX3uWemZKU2ms9iErrkSUbxRQ8ZuXeqekgyeyMlSt+GGpjA7kcQsFVBtXigJSYxNDIAbrXLS6W1+lQoFIqNv9AxIZawmcISr6IdeluFsq869/wnA6d+xIM4mRMVXp/FOelhF39TmqnXttu6daZeXDjg3n93S+/GCS8fS1kcOotNisWvubsKKrR+REOXlhsZJ98G1BCf+TEPwiRcByB6m6Zg57QsN//UpbahKM1HMNBjLEjpp+olRl3shJX4plOohLipCewg4UzTQ2jbSoo4Eempr6MHlg+3qKic2bhj7g15FU8/ZaOZw9ihi4fbcs1bKAIn3gOEsYDwbkunp13raZyo71h2CH9s/GjmmUmKcuzimrLH65lGMKxb9bP3BrHKQE42ngLbd8jvMi8p70nFcbY+QvlKTHSck/DybigsdHqMwWQ3DpiXvBCq6emthYbSSCK+U3tzU+flVvYUuob8ld7I6fComw3WQa/14zpcl5qjpWTgAub8c4aPz6aw9HfxvxZtarweAU+wspHr2MIJTPXx6rymDPpP9S1p4hmzuhczKw4r9Dn9mhapJh/x7CwEHFxcoucofhbj/0aGBH0FRYFUyfqyoRosmeX+1fxxoVaJIVkXFYdQ4d+gZ5evaLk2Mcgr9y93yBaBAjJ1+vAJRj8VNReJIuRkpmduuYkqzVTXRfnm5bKtv0hZSeEGZXXniQdjxIf3O5ca5MSZzrF7nKH5M0gxlQ2ehvgwpruQcMOb0BydZrYCwejLojbF3zzPrCCBRX6KZFJ1ZHICGYFjNBPlq0ywbAtzkAoZXYmIRY8HjTxmiNaOMjAD/kPDcdGpfvfKgG8l5Lc9mFY6UwDYjmLdonN8GChcE1qyfgsl5vJ6OaZFpY1ULT5c2mjhKBTQbd84qDW3D1OW1capSL55ai+ALpHb3Pr2lyc369RzfQb0DHARgWSb4BNjiTNS6vBMv8Xt/RA7HP1J7Pxc41zN90K9+H+zDZ6WfLFzaNJAk2eMMnhhN/uBEXi0O/w3lN/KwsmobATuNztCbTIBbBDP7hZKUVtEFkW6ycbB7mGrrpjh5bgGPapJGUopazYyARy2A/4y1BpBMy7vo2BARHuKMdbhn3M3ZyKwe9QMzMgaoIlWpbojOB6IlacASE313MJYnT5UfqXx9c7G65N1/P+B9/iuJwhKXjqA7h5YDw4DfeFfFLeT3su2IUIh2I5W5qQooy9sp0AMxpthHXWq+bpxJOqkjhQ1vVZx7DBUnO4m9hNEWQrSFOM8OgEJwTuw3gkRim1MLBpDxwE0hkrVFtQf4XrtHu1IsvhoFK2VmWA7/ouqZiUq0IOLPQeURHEAW6T4ebYz2mCJGo2qvRkNNANkmBCVkG4ZUbKKwNBrdeMHe8Y0/KT1bRVrq9rhcEWkBKXcj5TWMlfEWz8L3Nn8sravH63SqhBi/jb9vvbQH6ygWxD39EjHnjLNQnoVqXgOLNsuMi4tpQXvRSTCPxfmPpqr3JCv6CPs63HWxRFYdQUd/Nc8wUp5zxFAV27+hEegzzp7bDFvt25CtxSqwuLHToeF2eOUtd6umM+M4mrQ7AD9mDTJmtRaMKpI/KSiWo9ViyO0nbk490mexj7J9gmglPzTLBevKMtGAtpVP/mwJc6bkieZFfC3TQqw0cN9zDHFdm3gsyrmZl1Ku71bjd8JUNMLq2ydHBmz0sgk8MKLPtczzT1CjA00EBc3W3LqEXF/wfjbMvlytCQ4UipKfvYk8UKoP3TKh+yCTmdKx9O3+irg0MD7M3LglU8x3Rj0k5qM3MaLt4GvKq/Korz0/4XSTINBTlDXrWdfU4A8zdyAMXEleMv/8JHsktVjaXpXcqACjAC+dmhDe0MiDAVC2dXtH97guV19CG3ccOQKobIpK8jxQ69y4xciFxEznKNfu1ZbjNYxtGgMJJ0sEIDI23w1r5so2VQdV0bLYY21iBq7bWmJGf0LQqLldrcTcT45UXyeHcIvYqAuSkl+SIWUiT63Yk3wVDf0Y4r6qxBUV8dT89G3A6QLeNhZCjHMP/qjX/hZ/CkzDyFjfMet5SLdP2FrzY70Prc2T7QjuBDQHiLpygy0NR9yOMBEDnmBaYEG1rBRgbv1kjRe+5vazaq5xGuhXgviXGeJy9qASlPc2LILAvCjC5UTTNfuqs6UefLDWPmZ4u0J0K5Zm/ZlD2mFBia74ZNbjIvGfrpd8rIJq21K8RLUwxbRYf+9shLqr1nlHT0FMZOjnpXhwLbkNhG8OjbmPtwGPZfQ7jMfD4hEbguMmy8Y6F6mACHXUWy80mPRdHofx/VOtN61kBFjkM4YlhUdRzAWxw6Q5Tw2TlSyTCBFXCuYl56oryV0u2GBB4rnwHX0lInMH3CNAXWU1IX0D6nIrblEcjSCU5BTvSpR8MwzBMiNo/Zan3Ynb41AJfu2ypDFcT3CwsW4GbOr53jVi+mjKieFTF2RlKso6gORGW3znuh7YLS/DJ85sfZLg5vgwaZRUfdravN0r1QCJoexh/fFFqlqT0MI180qO2bA5gHh1mfWmTDgsdjmGgTXL9LQG2Li3vaEFb+Bpg8qYjlxqPAs0MxHsHaao4pmBEcFoiJSkSTYuJhmaOl584IDgus7oKScG7CryxQK7IoR/1GlxIgk39i9Rdpoczyu/OHLCUDbCiAE1Ufa1GDyHQyuVRZq+9VEZ00OSIhi2xPU4WKbGrVFua5LIpJ8Dj1atZ0rgHxJX4ap5N4cdGkwnwt/Ry5l+ME7glWHH/RF9mRLSrVoNmJUlMJ2l608MXcbQZuK0NoncRzQrR7htQVU6N9NMH3b4r4yduk36ZzXTMrVtHG0YYYRffI+4kj38uHLLhcTa7Yzu7ffd6Jdqmndk/hpiCWiJduyO3jco1aMGnpeirzClkIyTIGXaaYnS8w+v6uCqaoccbwB/R4OEGXz3A3uDAT86+W4k/brLKjux6lQ70JLxVyZ3IbPFkT7vDEamApGpuLqmr7jZzKGKy4r1ZUgk9twGW2uv8q40OZJCw2dmmcCotOPaWsnEbyG53CVYsYMgfTUCc7nhi+z6kCUMogTgH9lAdsAfVt5X03cwn/tPbjbGm/llLtzArnj6Bs55HlPuXU+wuGLYJOiscRw0uq+9ZGofEE9j14x9GHW0yy6x2mP+0YyFG32ntjC/YeNSQDnzBExs/4yDAurWvQZbc4hf5oExRaI8uyO7qh/PpyYiWpGC4o4cAbSeJcYPsr73LHtdWJal+zFfCoDREY8UtuFHtsuIrHfTxlRBKUdDiSezfcFdB36pjHotk41AonhLJW4QTOtk+9Mj3RhnVy3Gw/S9GmJlp8xXeJsKAfv/toXQGIrXKEVtLtaSSHqPKt56SZLONSvzAXs6i2KtrOVEUsTjHBhUe+E6kW2q+ILdWBlvGeiVqe5QOTF1cNo7OLyQnYxSy6dC1nczvFCCC+1FBasooTmXlIGSAwLBLTSmeTvWpC2os5eTVtRvqljB3zg5ng8qfXqmq7sLyVgEYdfCkGv6d7RJvr/w50YRKUCEXSRNs9kdzbre2GM7ajxVnxEP7u9naA78jUEEYq3HQFTgKDsqZMPB6eeqcBlHVLSpjEO3xLJvn5Y6gbyuQ8/fZsGGEIpJjSqdR0ae8uW7KDQ31HgJ2BcHaZsXzvOfBUwc+fjwHY2sNsCSLRNHSDlT9DW7DeBt+X8oCAjrG2hGbtAcX0wE+cZE1BZH8PqctGGK7M0dnm5v4SbRMpNa1X7XBr/eEeDSxSNOgXoyMhx7hG/3TxpCd8CIK0Dn+B3g6c+VQAJseFx8u6L9K0SdtqkxuwBmgv9eCPmGzQRXVZXpMdV0jVgjLI20BJBZ/U/kG9LPnt/eUyQjBnUR4XQdIXLrn8hgLbejhhWThPUWrmunBGE6MYLego6Nw03lxHPMJjbT/8/02V8qW1b1efyEulclRPfxG9Y/jou2UJEEkaAOnMdku2cE2RxFDoUnXJzukJDy4A+5FyD9Rm7p26o1lKMRJSf1A+BOLwdtq7y1Z5gIAoky1uib3OLfXctqPrQmpHm4UYVqSZ6VrusPdFk0ElIISKiNuLooaXDULMhFoggFbOhUQbBubbk+O7Vv86CGdg6EbPoNoiiaVGpKY7Q99typIjakcCQMiAvpG5amgUa3t6zhi7Qgf9hAhDpaBbBxQ7PuCh2JRG8g1H5EKACrZ+/Juz+/NtwdZQVv1BTvwH+qFqtWmw9xq+GxZF6PSjB3lPVDLt6muuHwN08RDnF7sYglaRl/ynjCX+bHIvzAGppjXBiUbo4I+hj69ayvBDLKP6X22DC/2m8qAB1+sC50tCwxzmSGCOl6Hj34IVLsQD0A+covQfr3hgDR+fIaWktLXBRCNFjB67+MhCi+sdQGXcIUMFEkBMYOV557PF+MotYkSORtjxx7sgK55tVfLUj/UQm0gL+OYES3Yr5oxZRXDW539jfk/BEA1F2b9vJ1OqtpamXaEQY+pP6bleCEaT4LW+QzYTTyj9gYf7K9fWR78nYw2LusUST7ucr5PWF/9IXmDlH8R3MzOa0EZNXGZhIZpGYPXAipFtU3qnjPlNTTQDvoPe1zX0LwXIKsuQCUUlgJJEXTIzTdFlYFtD+kXkUWIZFSTLhxCTXdiraPqkMInhJa+eq5JNs1l4eQJpmR+/las/fJ8iesNn+BgI9j6YdmjAOvaGF0lFP35j08SOKZpMJUqYFJtGmxD7VO1rrnmqH6Fxsd8pDwUe/BrIGmw5MgMrayYaalkJ43CG8LnFPET5jrF13euN3IO0hO7K+t7GjkYRJwuGmHgSAK12nikij+vwlIXz1Ztcv0WgVH1Z/PoP28Hf9x2hltRD/CQpLooPFToBuKTXJKnRg1DgjPKaJmDzJtN144RtMc7g7dxOjSmAp7xPwYigSPf38DiHGCaEHJ+CnZojoJdNR92ZVpW+Cc+C+NbAFYLomiBZS9bEoC++t4fCFl/L+xs2/wnLaZYiUHnjaiC0ow+0XHAs7iwZjmGbd/s4nv8bCwQeg8hq+MJRc3e+XKtc0dhMLTdvcC2vZWLFZ4u60m56pDnOWH+M914GSJVq85v43YljzCTtyBTfX7ZxryPiOxx1x6ZQVIwe5aBJji2e/zUZbb823caS+yNqbhkIBn8NAaVWr3rUuf+KdIU+hNTurIQkEonq99GylwRzDADfJ7lCbOwlDAtR4NbkA/Ji4GsK38vBoaTzJTldW/pnhm21mBPqh9/H0k74086yZInD0+NpEHGQQ8exb+MIkzcm22T7ojzS14L6tJGXTWJWWqPqF/ff9nlYn3PROHAsTao8kHY5FXXDUjfmXZhT4uvZM9aW2PoLZJMlgfcsurZWmIZ6nB6SM0IeNINEVSCxEjqNgfkuzIwg0rqDF0klJZTLbIVcN9fhIRu3Ib3YRvI4taIebL61QocEdg5YMqfD6Xbtd+zqENtxLxoA8ueAg8Wkf76JKL3nE2RdxbRElUOTC+5bF2qWOl4ZDmWD1Na7MiCUhTuAsAKHGdo0yh9typnLaKzVQzXEJ/euuyK067igEUBU3EdfJRgz9aq1aJCHh6i71JRCePem2k1QSoSDW21VzNn107CAgAr0Md/gQ0rdSTc3kbE5lAeXqhE3AgwsZ2k+QIEZsLOFNUlxVkRtMZDorQu4g7E80rU12xiehdjvousi923ITGC7f878sPV/iCU0UPQeWgbkxjQkHkWNMnMDyCeoIdY0czeowv6OdiXJCB+4y4NbbDVBBhrf3GyuVJpqlAqJHtYsgOEqJ23VJbM89MsrkUgXue60U06GoZC+k95WsCQXmYiBx8iLPr4hrfOIUeq816ROfNlVv7rVWT2j8tSmlRHMY0RCGsH5NVHjArTP3iPTb+Y0F22n6KaK2wNQnmmel1JCiT13jB2NJFW7cJGl992nrZCo6a6uFi1vu2acN+mRfyLYcnZmKSNoVnwmNp+XTe2RCFFeuygXsv2HtCEBFFBD0xSwnmn7VLuuS8C7y9QZ0UZ9kjtfpFrINCgVWdujLrg2g1STqi3xkhVn5B+C0kLRkUjyYnHe8hfXOpfHBHSynJsGwu8/0M1WuNTYwfyE51slaQYYcdJUftK4hMj3IgdH3Ts3cnWm/0MukG4pBUzNP1L93Lhd29D00LPCgFNeG/HGBquc/pBIe+nsaerr4WEKKpWSMIf0pNh3vjFTPamkR7iWkVvtRBBs3lv7PGMBHJzk8rfsC9GypUqhgqRqDtVrY9h8XXog6eNf/EeiJIL5sltJM7EBL4VAsgp2daXmKinm+NFtTTnePIBEWqlwheeCxfflhRo3BNHwC6ASL1gkCrvsRegpS9U6/So1OMbfW+9GJU9TR7kxRveZjTvJ6d7qjypCEf209MkLzcptn6ie5X6znrM5m4ZnjI1OXtT5VqtNrb84PJcaU6nf7BTYSdz8U3dXBoLj063h2jw2uvZehWSW49U5GkZcGr7PBCRGcXomX/6rY8MT6XLLfn3l3Zx8UvmDZ/F3FwL2iT0wkEAFZLrx9q96AHk5ywpZ4rcK32JDr+MOv2zcPbCR5jI4vKFEh7Z0Y0B15AGvZvzjyiLmOS8azegwzhEHt3fzM/hWKgoXZ9wbrC3ea2clm5u56WMkZ+CjNUVwKf/yB8EXep/ghz1dB4lkVts0b+zF/289AyYWpU6wuDf49uluCJzC7IK4rStJk+ZnvHt7+xM+1t+T5WsYgn5EvO8oEJU/Yd2WSaLfClh88TU2My7xbkI0VvYxlCx3/zGtgxxlyrf+y1SpGMrZhO6ntj2Fwodmk9DpytYy53iubiriws37tAHTcU/LhrA1cfby+zUBLFOBQldssALWtsuoYz236FkYoQ+aoTeuqFgwXE7xC7SK8hZt/GaRXqxmhymr5jX8CChjNXOhCcQX2stGrkfxlY5EifvkknWfU4wXWD0qiJlfD3Jc+SiNKf9H7TDfpRt12gfc/Tdc5XsMn4ra2+2ecJwD24orFb1fKLkJ/kYH330X+Qu0XUlCe2hGEFIU2DG2f/IiMA+FucTuUpINYr29eEqzYeB8hVIZs+loYe130cbvQp08mCpRW9Fzvfasvq4QZ2/gGdyrJFHHLmqCWObgJ7r3PEtjDMM94Em6y3dHq8pv4Vnihk0swbyAa6do5lpbh62Y06yFGXmqv0jzWT1l9688LxChDyAeozCoPFeY5dVKXfZxaXkLoPbUbU4TcEDwbT/SpRgzOg0Y5HKi1SuuVR+WxwROT3tbHrQ/fKoWjzyievAYw+77e/2Rb/J/EzomuXueW2+4sIGujzQqmSCs2KPawu5hREyDrMk/864Lvk80fhWJrMKbzYzDSZy/z5cUTbRckJLUyH2wZRo4TDWuUkYW1fnFhFjAjIvVf8RoNqh+2ToyZgbhjdBsB+AsvxjnIiPsUOJ9ip+LOS94dSnEb0hLEK8pK32Q2yhXzHTB/vo5mpv7MtcXOacg6+TVTlmqfcuHkQJxCyvB/fr0lxDZgwNCoCfEPpnAJA0hzizfFHAZtmPLqPbcezWXF9LioWB3ZRLKIFcBjsDekPA1zUnUHuNEeV2s4vrh+w3BsAbSv+y+2dwvofAvWCLvEX7Xq39zy5548hJ+XEqSxq4HZaBnEWby65mEUwJMCQDSiBfpoKhOaGwKVGDO8DFL3dIwzDmNBdk9LFkjuVzhruxj5nyTt8JwL2IIPTBtPobAkLhIstWMmp2JnyYo097VqrMRr0uL3Pbuu0KcctTU7/kbNwumlui1+fEkjLutTQ7mJOZuf99d71w+LVFnnQOmR3ydk9n864K1TfMWLKgR4fiPFO26G6XDPdiLTwJosZ4mU6KV1UF+gTc03+xsqMKKgnF9upVH7Raqx69N4BQnVslrjT4UOGu73Ow6XSWwNd6rNjWEKHKhf7DTDQzP8QdYkMXzOnzLwZrN6MaLiGkeAzBfTNUt/kibK7Vf01AqkBPrR14g2hNMUv0t8LuqsIz/xlxG9yQObmo2udJBB+Byql+/GVlZNORMH0HL0TilYP/leE9YtJkaYjvKWqZxZJU5X3Uo29hjJSi8TDRYcDy0iNaFKS095/saIP5vJiCKjS+Q8d1VVZy3QcpCCrnUebRVb4wt4Y2zY3LEvk9JAFcyhuqhB7kW6patit0x6lGsQN2gW/R2e5koE2aBnRN3P8mDHMjfhWSuK0rkrVUxeANxge0H83P4djiqK5jBAiiRpTf7uQT5hUZafg8WpLDthB9WR0JmExuE+Fu7EKkMxa0RpRLx8uiKK3nJzPamdzUUjSHJ5hZOw0+1ct5dvcSB8KvhyLX7laPIPKt2N1B5PHl12TAjXDtpeRwvU3A178mzT3UBr+8A494C54ZnN835foxXQQJ3MRaAmyo26tLCH6L7eFNRlokI5MJzZOlKYjF4AWS+gIKNv6GHdZx5Zo7ICUnG+Bh6xItVUGoVjUnOuR4BVtsT+EOS25HUlRKnHHUm73r4RMR/dPooOFzYN5RwqyyOhpr/w+HDqCcHc5tySeHRXGJpmefneMBkNvPqB3XwcJAAhdXWn9xnl/a0ie5NmTsfyChRcGCudhlHR6Vd652iMUcO7swk49OiEvprCwlW2vmN+bfPEvQ6LYFrfiVHwp2OTmcvi9egx6AXp8xiHACzkLUWH0vrz+Aw/4tZvo35DFuXelS03uDBd9IEPi1M7W3TTjf8VmnwkBQ3SAGnu8xva0Hxw3GKAd65a0SvDHLpN1+Re4rqx7MSOIS6xAMrHCRGyyBYcJR9Ir8GimS0QOUG9ebcOgocHCwTQmynxHdPLoO+P54d6Y1vDZqYetr4JIOzNWWKoK/uvJO4l4/c7ryQ9v7XtRVvpgXI+8B/OigBMoJSysQE1qichNmoOfvmx+F1m060KVrnvqy/WHjNCkIWykSzDfpd4dDbPmBZ/xRrV3V18ZzcCtlDjFHeCQfU179zXnwDER0Wjy6oFpXRje0YtT2WBNF/3lViOzYs5E7rJQpUZMAbtlSyPqDmrmdksmbJtHWwaaEsNNUvWf6KBjlgW0R6i0+iHP1XjRK5If2erDgenG9Da+Vs26TmNRmiMnkd33MiAkNRXoywr8ZjTWSP1DecJLLdJlMiaUd8KZBDM9HvH4rfN0ZpCs6NaqZ48iAUqNA2aEIg63tQsaB9SoDyAhCv+A9VpyFR8LJPdFayCItqtAa0wvnuy56Arfqay3bwl4MvxYfV6sgSafsBhT8z+9l4264XVzqzH3Sp6lWGvHweyDJZGT86lK2QpynnoJtY83oLPrwOnoQmsBRkSJNW2em20hAw2twJaWnsLALHJrwGoOKJPg/hoq+LZ4lKhlHnuayk7AzLNgTJ02Q3DGp/tYrZuCFZT/VSPfQmnvtnLMni4umb9KlkFshtjcIAeCDD4IVCsAk0H5uaVxbTZnwqsbSzHTOQKbzLo34f8+5Bz+bh/BNAWyuAjn2U+ULkmP2iQMrIGoDXUZa61AkZBpwhxXWhBOYG+qsPqKzbRWBGU8pLCKxFxBJcN/BQDtnKBxsGJCVy0Wzd4YcLN0W/iF3AKrhVjTSH1EYs5zG3KhRQZ7UjYqxRqWoIjU2cujhXroTd7Spa9QCT4LT2ZjvUgjMXjcs+AwIiGSXKlVov7UzzG7B/XwbxmZpz9eNwGeJMYQOo5FT4lRf2kxEKS2OBrq8NY8C2i0vxx5UjFI5DN6888vFn7FdvTmWu9JIb65Er1W4zxu/X/8rBQrU2EvxRIlo5vuNwGdnmx5Eb5n0kPFI+Er3ZLHVE0buyp2fBDPlvN1Jdm383CklPKT96+pAfj7Ks6uPyq3xxI+tLRvvUpgryLCACHXxTGC2h3jbhqRryL8YeI+OUkWfO9nKt/krZgwrtM4psqgwVYIdcUa+fK/KvbvHWdbIUAdShRF2n9B4iJHXmEIgHrQlLeX5scqUN6KUKr6+D9eBHZcTUjLOkvWupfrtCcGlqu7UKZq3/0dDqF2ApJAjS2HNGjvyCCsSBKiFZur27D3QGNrH7wQY7Vp8nHhF8J+BV1RRQraFrPHp7/rls33CmixUaIK8w5qXFsd/8fVcdcfIy4lRhk45qnJTDPBDZbzWy4+UAcvzfkOh4Gk/MWLsLrm0dtSE8DXAPr07CPxEFU99aB1sqv6TzTgzWX4vdp2HLXMNC7RhjGFLX+Z54A+veWwKgwKiCWkwXgkzzU9u/p2y3qXRIXWW99UR2DvAfuMLo6CoMmShxjhy9FN9TNoSws3cWs2WWcQX650w/cEdgmAJ0w8pcmY83fa+EX67WBJmfoF9CTWo5jZhPfg8lFIzCymf9o47IzUnkC9x3jLNF3qVxNPaOk4ckPGl2Q59GTAZucn0l5Sflus55bsAS5fzlsPTWbTuLgFzcX9MPp6+lTrAWITeo2dQYkJBdczz2kVb+8DbhBep/heo2rtRiYMpV0vtleKD4RRKG+87KuKbRMEAvDkqtDgP4qlyr6ui68fhYHxhm0pBLw3EF4KSz3mxKS9QeSj7KN/OdNcPOXnIqwHNOsKlmRaVKSmCNp7/gu2D5RmPJFcbRUchSpYbSHuyr/A895MAqnnSL8T2uv/OJhjOtULVwT59ItmBasC9Bw4ROF0iCaUHAne8QjC9MolAJOaUwMTA+o31biICrJAv8Z8YW8rTgrpVzvYLLRfmPuTlQ3TjI1mVbcfod0t1r3bxH17FwbJQ1RY4EuL+MfjWKspIklxp43fUF8cXOkPT6/9R/5TkfsgefHSNrvhLXPd9sL8R6O8nmGg/A725AGD+KMU05T4Fk2QAK54LBsgysDsBLl5OePA2aIz8jcvKxzBEIsMFrLEDt7SgN6tCU02BMZBgHhOTXRgHMdHqVSQNBgHxRu4yyO3fpB2LvspLcZNTAExOtQezyU9AftcUxS4y2A8ixvSFum1M/ep6YQV8FTYRno+uNEYoLhu/FNI3t0q2FGIpVbutyZBLc15qEmUIP4T0hD5qjCHAPkRf8k9T8RwTq23bqJfDr6PoSMAkvlnJyb1I/wvsiAdSw8Z+bTl2iaKR13XGlqiTbCIjTs7V102rn3odHgCjUq+IOJWFLSqPr7AtaltwGFE2PHT20yoDFSB6cVn7ue2FdkG8xrq0f35cslrqRgWQdncSKBeBJ15+SPbhIkCNv4fxo1eRCJmEGFOL8qGHrcZRV8Ch6zL/hUyr1988NGIGID8+aMluMANp03bW8D1yxbPlBwbiicCbh1eDCvEjc3Aj0weRxAcrFciDo9fsTvZxtVXR9RJVQLHe2PwsC1O1LD91HKpWBnlLY6sHjmvoZuAMAFXVICi69wlaH8va0ahLFYtJV+G5oQt+W5EPI73ztTUkjz/pOHuVtKvp8MMSXneX9PFCyHajqoYaQfamysfGdykjvECsXNwhWk0oCWNuH9momygTIn3DaMiyPHrTVzFMNQO1MrFy91P0jruQC4nczK9AvmIy+pspYKIIlM+6pXdouEiG7Z3KktoPWV51X1CVIjGpg4lLiL3klzHzRUYFiOvL+x3rtFqOUPddEXjdXljKLJX/KewM8g5r66TxTyhnLWI4Hy9FRs/F+60495GjOQ3vMh1E1TInWkFI3XK1GZawGULU8IZ/sahMe3lRkVbnkktStVaFmoogyCe6jdzcPjm40LLGgwuVyktCnZcx4d/RfZHOQO61XhbTe1jByGw54Z8lhn7GxwZoRj+mJThSYxnjBVh51xrhHOOkOJteMNyX61hQVkDRNqfJ9lu7PZZKHoONEvv/gwBsA+yF7fYwyPAACLgLdSSK5nJGoQJhsutRQUOvg/m4ighRozQptCG/fsBokHY85IO71xhI7qLxA7br20XLcF+ZI0yiEsXqA+c0EV9fjHPrRwGLIAfE2p7qgtebx0CdeqaNp3QbDZDKAduNN6CLg/F21pHuWZBBMiPlaDCtxs1+X0TCe41V0j668pWJnnQRRd3mAZ6xGT0Pcnj+ZHwYm1MCf2nE/Rmmr5r2WEx9GIk55VNQmoKuQ/57vC0LoTyz4cqe7UjUy7+/65l34FiDldY66fw+r9RsBeHj29r9z0LPQVigv2o8mnNDcTZ7SXXy3Ce+K1txYaSnnwfIXvWyb+XteVf2/sVz2yPid8+KmC0TDCFkk8fFwdUq8mYJSRoGV8E/6UOzMy4HLU9T/PXQ5WmKGJkxSJ2DtO3z0SeYW6S7JQJy48Qy3dV9QhCiKhbP4Qk73/oMaZsdSrNJMqltf8+0798nBCEpF6Vm6WYh8aqpX89ldUoI4hPV/oO1Ir+NwHhX9xHiTB3aMnw95ynD1G9BT6JWUlPfm2TYTr2z3gHuV2qymjqhV0C+SHdRATf+qP2BWPPxEHgZ57BpYdFFrYPmHxFtElNFA33P+Fwrq4Q2P8ZE5fJpU18qcv/DtgIz9dkoSa5823PrhNAWFR0VgMLl7HBwx8ewAtbCldim7F+8EKyWkUtEoiLdMmKda0MYkpYaZDPQ91v5UtbQ+qAerqgxFfMviIBgzws2mXnJj9i5X9uCs7ZpfH04G5bD6TONnUTFX7MP4BLVFVF8trpyLQS/A1eO2T/j8lDiMNqeWA/I2mGnukzGmwJhdYpwarTXSHX+/30k0OQo3QrAK7BGSOTMiO+wn5HVvaPrxi+2M2F9jNrZwqrT9OKvlU5o4o2miTb2oCrCDmXwjpAz44FHeGR12KUaLQl65dPWlAZd6e/dORGJW+//l2xj71ZSuNeTitz/GhhVQGE4Va/J/CUFYERif9uPUBwGKOBvRTTFAz+vVdIQmQ8jlXbG6pGAgnNvZQoOwCCHSJ7QyoyMl2pTjRy7AD/fTSu2w930nL0A5yWhXRaO/MV1NhB5G+by9K/W8smnHCDhM8zQiCi1YHvsXsVSIu6tHqLOMyCuc9QMITQfZj3GdTY+q67WNuvmacw0luLLkyWfo3pm7EbsZmDu/IbUtwvBaOKYBYuTf0Wqu3LVCHIzrNzOSgIcpMiwzHg+FtYvngNuCKRpRsb4gUTA6BMr4J1Zgb+jvK3RUIL+/ZP+FZ5m4sihKK9ZYs67y27ySusZymqFZpB26iwJo4XGJGbpilmKuNORt7eIwKm6S8q8RiM/uSWgzzZX2P4zhyYx8XNBwzZGsHWTMp4KwC/MpkAA6pYNuKqybVaOrJSp80tmOUqsDjbcoE1CX5X3aDDRL60UobOS0eHSfVZPFvlXXYFErZOA4/zKKppe0vQixviTRB1Ph5BBKabj0yA5gGuA9M0z/5xqAPbAU4D77ZGRzQrfWhflX3gipZGH5OV2DiasmgAVy/kSQWognSuZELHHlrODPwSWH8bDPj4qqrcYGFejC90/rzceFox3F/sHZ4OgiMivfxQ25FW3yh82eLZcZr4bLKyDXygXJO8F9LjH5zFvmeQBoJ3DxZLEstH/fh4tqt02Fyb96paW5GCRALqvdIYb7Nyv8gDoQ3XPSBq19udn2KhRE8+KYxR/Fp5hhiUhXcxHzFJKNBhDU5ACXa8z0u6hlc9icZ7HRXPLNF5HkDXGn99t6LUCNOQqxF+MxsM/q4Enq5E1nu9qC4wwdi9wYV1nwbeAho24EFL0mqxRiGoKaQ1uYy2NdWCb/tXKrb5OPDk5QYw4tJemtjt8tMY6rw8qINKtudd3jaiTS9U4hD4AATHQXbTQHlYDEtyHyDEcN4qHymD4SJumHBVIBb74S72tpwtRMfHY94t3EVUwhMa9Ihzg/ANMe+DHuGKz7YY9rBDu1wKLbeyLsOTFbpMdQguIPbk0IoW939gkujT59/JnvGSpAmovAqZgl3clbdlHwWbPL/Vji8PsxlsbUURw0wd8IvCvyVyku38LTrnBh3WsxMcI7ab5DOknYSAxKcrx2xRyQRZwX2O9op8dz59BycvMlb+74HNa5Bd9fkPrBGfmPKwzPe+hZHyU8wezJerAmX5Dy7hjKIbY6/dDgwCO/nuF2953oT+wQxWXcCFqxF4xd2iBRs6qrtNrt8Rh2cJgHCyvR6ChBKomlwAPjq0kmSOr1SArDvhjtQdgaNZ7yUO4Y2NZNoIkqjR2JibEUutjFLG08XyAfs8ugLMr/rg4p3V5InTU9k7h0Ib2ahOTZvIWp+F2Kuc5yxAK45T9g57LfQW4/wAIUrybqBqwUi9qRCXit3ntlR6JyHPhjxA5s9AOxRMd4O2+/A6AOYxNWwhIhOxg4hAySamGzMKdjaaLR7ZjSFAcU/kFko+LZKmHAc9Hv3ZWlGXk/8q2GND8zQ3/2dON4W4fCwI3zrevV3t5JXpnzGW9jtHrK1L2Frn5kLvfkmTik3LYulj15RrYyEOVNDJLlYFBEJgNSaE9tlO668Ys4ROFa+cZ3e5Xc9n4e/tW7E7vpUzUhHomz0Yf87YtYkdR0m/YDPGAezx/01gaRA7RBAPVHGgSc1xvqQHlC7tixIX48pZ+MqzeNbW4+a8RUNaeIIDUl3o8hU2bk/Hczw4clRtXjFO9Q0LqaE7fewq1MnKrnw9vcJu4D7fxx0MRk1LapgctT8Wykz7vNwuF/qTO6dWOKKhyYDIiYjn5sr7AowKFPjP8URzQUStg3iCRnkOXq/Y0Bgx8FLbf+Hr5xxDfbeaLW8KVlMJBAeKVyTjIs84pc5zSRDEBSSh2YhXbLJVf3lmSCCNZM+M5F6BT3uQ912wWDLBO+VBjWAo0vGAOwYCiYKaWSZ67Q5sjHWlHkU2euk9zA6mNIj2OAy4B9dPt4tK5LBwB0ViO1VW4l3vhUAqoz+wm1BCDBUTGo3Ypy9UGJtjAdkwLxAKTZYCagSfBVaRQ1PkyrdnqwLSG5Qv3FGKXgxi1HIPD8ImMtaeGt4227ZQfFdwSEJU/n+rBebb3XYOHT6FzBWESWT0gMIZyalzQnrTPElakGMwPl5oY2FgJKfp95eZgb5Mhx8IFaM7N9dDwNBPExhDSEWovf5CkQD3Ue5XTg81wxisv7WkcK2kAM0a7LGnISdxkBdvAJlLeEtIP/L1hQN1UbrAE+0fC2W//ge3ZYgYB8VMTEov42MN/XIFIBWNsgTK17u/zqKQd1bhj+/enEylDjt9TfX7+WGQPtGecItPXwrM42QE1SeSxJDI6ivDgTcyU8ZENIUc95y8ei/j4IgAvtrTiNjnnO7hpFIxEMb7xwovaFuPl2XdPx0bE7Vf/tP0oYLu65c8RgT1xGdDRZ+xOB8rbdfN/WMbHCak4Fx2c7iHmtD7+o/FtNHwcndOZpEDrTwETcnj9YvsNReFJ6uQmOXffu6eN6YRnzHJQP20/5IL9ppDn17xELLYT+/rkRwiARIVeDJAhmWWZEbBCXsFJqO4LpzfMtJwfl5yaHL7UXS0in4mrcrFrq0AchpSdz6fbSwT6wYg7TV9IWE63bOGVX1lRmBnG5f93hi2TvN+/q4Udk6/gLE57MJ+bJgwO+T4RDEdwuMYNyCi3fJ3r0TR8DXXFGGfJixlvTjPBeY4s+0QyJDkDnDN5MwdFh/ZoH6bQIH2nbCM6LuSqAG5Yu5OHvMdkdHJk9uaNLrEumHtEzmPXe9UPWKzpSm+cuEteS7poKakK8d+To70v4+4Pvynps7Zq6D3eDkwkWx/AOlp3r5wWcbwCHn/76cHGH9/wuSVXvjifpONt2RxWbamPUI2HXQmfzPFMdIS88iwdtF0DB18YwoRyf//ynnn3bJgTdcL2//1pWcPZu1BhLXhvWW3orQofRkC8v0OSQ4NWL7WLAv10sjDACkTn6kIZGxwAWcLRws8d7rt3f4FZfvwNWH57UnEGqtq0jIzu36kUWl5JWPe60RqSjYkiYwCWxss/atzx34G4zKjFABq5ip6pWquUEqib+mUsWir0+ubZ3KPOADM/SQf68Yu80k1zNTOic4X9tri0TX4KLOhArn0Qz6hnCYph8IdNm+31Cp+f+ruQedlE2/ZlAyTAWv+8JdJHZiUf/xFcHJIbceiviDddVVawtDtysKCjh1zL6+r/wlK7ScG/FLJdWGtb+zc9/kdI6ja0lKp0o6vFrC6p79yei6DGSAR/BO/0OLW+Cj/vqI9Kw98qM3TqlptX0KLCTLf4OvLWF9/jmA0dgq4mYtPEvuss6Kc7hkBUjUT469r2aAvB+NXEqTyVPQU1gIkMzyO6Ew67VI6PEdszg3M+ANAtgGapTBeeIj0eeviu5xs/ycX7l0b9aC6VZQ+LA7JxfA3StElNYEDdC+99g51TbXfw0i8ohCJPXonwmafLMegacrNH0g1dFIuUWfrieSI3G/c2yQzNpEEFanKroI8bnJOoMtuST0LmDlk8L+RAkmbsGs4wGRhzh8YBcR/WrHX6U93lUz13duBVgfvBknISV1guf/p2P+oFHHo7XCcQw/xNxuHXJBePRAmzjZqK/NiKeCtbLvVmQCp/CSUKqiFyaVolikRVNVPy2dK1Q8ZmWnHhWPwG/Stb8M3Yu6sPLx7VEV2KUk7NJPRQewe1pEELnwVWFssO4Fv6UypPbvlL3fOcCPolw8IutsLHVaTaVy4+p0jsn3w6c64kYV4KSauen41ozQgEy5fZOOSl/RMA70GwtCNxK4a0QLBhtc8jxwxckjVqggRZkrgP09xwT1eoMbJgoBNPzdyABLFVlDVzOtMDt10Su7BzkMekK8oCVLYJtoz+B6NIhO3dwBhMirJ2OYQ8tmzTUhyX/XRgu+127Jpmw6/XB2DXRNZLFFxnYvCiXcBzpeCDjeI0fsNnpV5wZ+SSMStC596BRgz43g/imu2K0Cd5yT8P5D/VJmTtp5kjIXXczZUrmItchFgtf6mSDs/a1j8/2NEF7DU01hiiZuPWibwWNUnKeZbkYRjK6ug6eykww0PykA5CP+WXRUr1VnqB92IfYR1izNfP6skc9FulCOXB1Iz4PF/Uj4jHRu74/0bTRa55QLwN0ZOAp61X+HowPwQRksxlI573R9Wq6ngTsBweaW5chKZQ5ZCPhS7JQcnoH+MUCr+jpxhKjeuuoFEKVLG/o9YCnX1LkCzy3ZYos96IrJab+FUVU0ql5iqVEqqj5f3clTK4Y1V2w2aBpk+Bwo/KZ9RtiiQLaXeTp8p/Uqs7Ww5V7lHfOPsCf+Prc2ti+OPAeCjJMY54AIjd3ivAmA+17V+xAnkSegUl9AjwMmcCwGms4xjKJHsDtcth2k/UjlwTpNP5Kag6SLpf/z3PsybX7iBPQ/jidFVdpH7GtBLGv9oPXq6F/Ta1ZMB67KKOPYqfpWXZuP/JuGRDaTm0/53aXiqgY4YsjkMVLoCCJlyO9jVs8E6afuFB+9O3JAPs44T4LK3Db5rjnq1vKG2hG+tZM4FCFbHm1PKTvk4ztHksJtQpdtnaoJTzpjQP1xtMMOhlULDJjiCAfgd8n8/tAZq1nzEv+7lruK8jQqSQXP05W42HiacswQ3qYzRNy5vKTDYBHMF1jXRTJMYOFKO6aUlKg9Y1Z6CrNde4xrpMILOJ5qPYMTyoMqBHAfiIJ7vXKI+vL/zyh0uJ8A171Bqbu3o4/3XhJzpGD1ZwLWhuP14uFPduJnJwfAQZDlUp+Kl2dLbcsDtG6xWhiZy4mGMum8v+Lxg2uxZ+m0BO/+1WLjsjkW73UGcEELVCnUYUaRK/9XQ5qtXU8GlIRfsLWbRe822Fi1KGOJ1pPM13GEhdm5ynN9InWRl73xx7XbcL1Xm1KM24tYLXmYwEv+wT7XXZE1w9bWJnTDC258seAgrfDextG1IxhEcuWWGMTNFEVGTM4Be7JJcnGrL9V/mtqtvFlyb72OQvWSZawMebsfhrEPE81FxFsbUQrT0PBxoAhAJlTjvQO8Ax+NB82FXahBGOJ1D1W+i1RcXD0QELb5ftX1d/SVfNyyqY3YEHx3BvKZLbvOFckRR77maDmybIJkNJIxdZ7WrO18MM8dJZhCihuqEyu2x5hv1mI3yaiHba7l1DErQiRwoe+UuopKYu7Ykqk7x2kWV8I/qgqFHpL0tfaqHXrZMosq+ekBUSA3+tkzxxTHlsiEYi35U7EyR2BFJb5l5DxM6n0KUxDsNRFcCbPTBnn1jeLmESE3pXJMBq5WiyeVnKf470gbl0sviXwt5gLNVXu2p5xVBfHmtFAYezSk0JwXD2Vxns/I0si2i9G6Huz2yeVjiylnHXIqUB7XoM0sfWXvvkiZaI1Ux+jChybi8qeaHmcCiYmxQcGJ1UgZFBsiMePrgk5Q3a668QI19lwVSeYXMXfMTNFNmxOt/9cwjLFj60gewZjepDcknZg+MoEKOZSFe9PZnLtmUb8dDCJ5In6XOpbv0EsAXRjw3dqx4UMxK5BefAZaCNUZhfRrOuZ+h83TcdTjABr/QJB3QZf1I6gF7UoB5wtS8/tSqMr6gC1LhoRPganlsiJX9hPYH2gbwx9mzfKFLEnOcEJAejXkhQqlZSNwwK7r79lSwailtgb7kC774ygMPCEZSMVCfQRSGDGcImF+GEkHirY64Qv6xONx1TS7K38yo2+ebT2fycU+I04p0+SgmEexgAZxNrZUQo6TQSAyxID7v2zEDQvGY6hEZYJPVLaUbiKdmaGhvz/4Ne48myubt6zSJBWIM4rr+BfcvaKXxThiydK5WUFCMJdD+9VelTjzjxLC82HqxsKf7HaNGqrbpxb5dn/Xa2roDM4BSHypZAyFeIHpA022Wre25XsfoH0tS76nN3ERdrCnvr5cKA5Z7hY5vm2kVoDKbma84dWvOetJyHuv36Y2D4qSt0yzLh3Du4NJWegt4zQ9mec3libC6hafdix4g4cFNTvP7eozqMSewqH6D2GkdimugCjs/GHBlaLXhiTFz0dxsKYISKrJmNK7dZIYtDLUKM9GQbiDnAThaDDJwzvNKi/jLDby5dDbaNmO/GiDfqKbvyKOH4U1OpVX8CDc0LeTXH9sinrZvaQO9sT5UGRNzk76mAu++TcrPElIankT7BspZ7b65IzqKRu990q8fLP8BbOnOGm3PGNSLlH8UKSW0QFzlJ98lTq/CiBeb/hmxJovP64S1UP9NZlxQ/j5C6oI/3pauvF/mgDSaXINFl8BwE/o9P97IJruRMRt4X2pvoE9UAawce/1zMDO+3q/UBLuWssoWWN2TjOsfrdfvYwU1Drymdz8aGdr1FKc75PNd1A7l6UMqb0HC5tLd2LNGVthUL4EWUpzrtUE3kjWOXtwoRzsWfsihuWGLHRhprHm/M60yi5jLlmAv2bC5KZwoSGVHB7QHXdee17tsB4CP7NjednQBDyW5gRRuDY1ymXyEFwZilhcJLq+xaO2I6SXV99z8uzsUc4PTz9rQOq+xs3oMHnmNNWXdgjS0JdIOTfgLmoAvnApVAfyFUx4dPPThhFI7eLj8lETQIbX1qG2gUVWVuAdfD5VDeCp63gpaWXzF003zcLDPC5IhZza6FXH2Mo5w0LLCqYv2Bc1iLyoJbh2+OM1oSPmfYVWQVajXaEfSDFTNmigJ0atjlkdhAnGWIpFHIFlRAiul07Ss8MPIBQpmVJEReCDlg3ogDuNMHAGJb5/oHn1VHtHFGW0wzz+8HUtHHmYTjvauCtoHW9wmhn9/FDQVJJ72qaLfBbFu95lnOZDEKlnB30WPiNi6DUsmGwqST20NpG4R/XdaqGV1q1lMDq8jraVySWpXLJxdjqPtEJW7rc2hbpnUonRewLwO1FR1YqOlE/zFc7BEhjC/pJAUH4Bd9TwtksazZPb2cJgDprwxwnC8YFllyVoP9qieEDAoXFHj+5UpX7DgDPahnzRij++mIXlMX89knue12AxbvYlQh6HRIbnd1+sPkZ98G98NBDuyEk4pW0dALh0YXw2niYjg7PlxHY53Cz5zGUi1r0uYKJpbd4oufRvJGEj0LJBY8tjbYMQg4z0WIx0GybHUOiNOh4uhE5pLVKxQ2jTisq7cDFC6pgtDytqtOS/Dyvm/sQ44i8wcGq5lSihdjP3ogebhjX177+LffwcYX/P9rNRdnAm+2So+MvQLqbIuF/ztNXCHxbshrFNHzhXwNyGzvaRZXzZQQhRq3BTsK8Jw4V9Mwcll/C0W5bNZGtMnh84GGIXaIfc5Ynt+6Ano6E1c3n2L0N+ej5iiyF0bj+eJX4s1AWwoAhC1TM2oy9gz5ebpwEb3MjK7ePS18PwGPloM54GTbmL0jLtpzJL68/3FdafFTLiXzULW5sosLh5azDja00xEDSdlYzkC0wQczsnnWoZSGVcLHmu7q2GHDdIto5uv/4TSJZJGNiuTtpked+IP4JYQlYV3VOYveNajwmf7ZpmLPmf6xmRMTbmfEwylCNL5TfDmaiGC+m143y1FVa3tgv/FnN/7nLFYsOBUsZhVv3zVggh2DeUJd8ZgXT8CDzrQ0rAFcj2Md8izIp70y7Tgc9AyZjxiypARiZd1W2f9rzwZJ7+cQP99iPLpPsYmTXJLoNjZxee+0Za8MsyS0r0vYJyiWSlp4Vc/VXnpwNItP7ICvkDlJbyBFH2QkGTSwmVsKlaoZptGHRDAvzsij+VApEv1fNJEA6tDNWG8T/nKMjUbpzwANG1/yVnQMeZIpENUHJfEblkkL2g/GwFOqm1C4W/sc315h9WZ8j1VtX46LjK8uROI1Oq8l4cl8uSftms7sJFve5djvBfmhfvRoj4VEDkTc//REV0R1dqIIptQLVzh73AmbzczpV47eZxiY41OoepBEisAaTi+6skzn1jkB/l6rPneRjkDARenMbE3HGcwrNMphj4MvjdpEV0FUrhiOc6KV/dhuHuvj9Q/ViaL6W7sJctUasP7zsS+LWyQ+4K7LDz2RJb13D/fmHL/Z7JtYDEVoZbli3SnUT3W4tMpqMUo0Gx7NqOmSFDnEwPOAlgW+BbAFLsEIs+hzXh33qsXVwgwjK5EclN+gsvCAhZm/ETfkeZAkO+yiH8iNQVHz34gAc2rs7fkCtQcllMI+2VTEUITrWCkEXLEYufq7P8flFsWlwwwW7Hn3irPMLgkSrm4lABjlq2hzT83mbkVP2gQoraqugb+NPkNr32YUGDv7qrNxpKduikky8A8758LPRNj0SekdEXeUMDExgedxlHaT9Boz8KDYOf3Vm+bgmIxvv3slJ3f01UDpX2gLtTuOryAJw/LF2y+qEA2jzqwC4cks/gF724uKqcgjuOg45JG/dgcnILDIy13PgGLUU8ZJtJdbTxWdnn0Gd//9lqrnqbjrt8IUOeyUdkXp5kKgcKM2eiYinUcWAcaDjhIy7MCJNxdkcNGJfYWt6qYq9pCqj07E6bfXDPda2+3G+QpTj71SpmhgGW0l/fN0ud9EbM2X1Fia1fwwHg7Gp87KqwEBQIEbhsJa1GtHQQWywW5yC/jI5kXKc2C3YlDXLj6cOx8rA7nJBwLU4yNYc3oK4YvKlGn5G22vCVgK0iWk6G5ntlJGMNzJdWiX4hPfv3O8/h3hEt6waFwQpJuuk0FmZjPZNwWogGhIREW2SaFiesgsT/y18n90wLwW6/H0bfb/eOqbMhKSVrybzSygKC+TZ2ZH5R3w3GWQNlMX5wzAK2BoXx5ccO/2G6AfkdwD990H2NLqtnJwB4blIGint71QM9oM7amHofnsCpFQ41H64lwxkO0b+/rIcqh9OFoN2qIldQ56eJo+pf0GNj0Alsl1mfyzrdj7CKVxhIWW5uDy5BntLTvY4G9cG3Y0tiyPRtac2X9GDYl5MbGDnDZvRBnwhwzY+YCG/wV0CfHgeLK6BWr722qUdEagEyp4wtwsdLhvwxeDi9FZqVGf0w1LZCknw6zOEyfIx/ovCDPOY8/2Di1ShEsaMT/VHJAaVk/XMv7YKgjLHE7FZSzlhYunvW5rQBb/eHTW0ASoA/THSGQmF/PsqPeRYh+LVViEWQYJijpfZ0AOdfRS2KiGgy6l53P/0yp4qAFn/K5b/XNUXjUHxsv5wQx44fcdG8D9p4A8mjQ+1t6xJ80O/ole7u5VYouk2vB1inOKTzDFIxAsKpihQR1IV1mxPT3OpLNqKu5NII/7ucWEP8PEEH4F8t2tP8sB4bSANrD4tD5b3OnKoVITOxbfPl/SKt6rGFo1RZN6MLd9i95+UgsA2GB9uSfYZPfEzhDlVIgWpTR9be0GzJ5u+sBlCxp9L0b9No3x7UWxHsI/LeYBhHj2fdLhEPoYl64AMaSELTij2v7+VM/uEW6YIta4Dzoshx+oUx85Py7cSM/c3UrCLvVKdFEwdGC/vJo5O5sGrqbSnsrtunelEKVnR50tsG6A0bmRY+JXHUtYq6NVhyk7zH48rxH8atVokWzQLZTTiB9BRHnLMvz8w1A3Y9tQl8l2EoVED9N7/0f8wJS0j+hGNLa/6hSDOIfSArfWRGweIeYJKvTbDpcHS2P0u6hEUTWbZ49VmtpAu5JZxew34/PWsStRp/sARng8/o7qJB80Letn3jWvSTzpBh4u3XKNRgCG0R7N4ycM87GpYXuz65zzfSMtC3jXGQ94BwS0OJIssqdHJj0dPyKYL9GAX9rej3DRJuKoSKSrcccC1tZR73B3cMnNTlY5+XMiEt3zCpz0GliADSykUPC6Zt32GJNSSuEbvhMG+vvlJeWvJvNvk+bBHWeOjugDArrG7yxXHNmEPg4fXFLwQJcYXqiRj4+t80X0TGbO05vYrpwEGsRD1wurAGQsNLNqdwfAfaoxoJ1mn3ELnvsBVlBVxlbyuJkVxzOV1/3wxzuKdobbxeFxfX9/Nd1x8YPfiHzamNA27KTvbR8xwbbFVzoaPOHsR27nrjJezk3eWYHABpCAWPwkFeQKTYlECWs1H8Eo2tthMJXgFoNaKkodwYv9d+Mw7uc+/idJpO7zsvu2DCQxCTGp5kGXhJd77+TcX8VkJEN+jNxjIxAZAPfeCuIwPYQbPpsKlA55bCwzJakwkypXEkLSJx1i89sR9xSFCyYcrjzPNXgOGL5Y2rXyyAL5J0nZx/l9j6u3Tu+Zyc/Ojs+HMSFhkDeiV4KHYPRd40TzrM1P3pQebN9T2TK2B+H6apL87hodBq7CNXfZs1Ld9pD01MV/5Cr6holF7pklwtFgDAWEPWD5053mUQJE9LwHIWxu2uaPGDeYv8WqyoiOO/tet7p7AUtggNHFEFrUUjXdIvo2RHY7GMXDVHWXE2QtFssdCWtVMCrgiY+Yte5C1q3gNvkeS0Ho74lLfwP59xqj1oHV7bI3VqCeChxZ75I4JiyeSEvMoW+Up2am3IxLaW9yryaHu9K04Lh3GDCcygWXH21iRjkgEw1itwaYYdlddzSBdgy6oea5gMoazsH/NWQ5O7057wdfxkfmOqkpnRR80wxjYLyDz126gOzMMapqb9SDj4icZAojnVmNtMxqmk655q0J8dAeVTmwYEXvJUnl5P8aHl8j6xko4evzybEojIaB6MZ5biLOqauE3pGvmFuHR5Op/zPMExWSJe8WIffhAwOJSWF7GYAQURYwuCTLQVKdV4+jiUsmdLODY9PxWH1+uHaegIu3lSynB8GBk/+KwZ0M0GbzIltsjP78jKZZSS+zXGXcLnrUPcJjUlniuEP2Mix7ftn6w9DxHIFdM0LJXnwVcMck4+uteEDpWaHIPM0dmzKIeIc0o2yDJkXxXDH6RYKi4ZGO1Yq3MkrBfoHcrfp2+s4SEfmiTEQICneDp1haOMdJZKT6z34EQtchQaWdoq0MFqmWxCBfHxuQdyR0Vo446BvNLtu49n+V5kViTwC5I8T1ma4OnEC36IqdXGe9PttNEEGyk4XDJVkdSWNpZ61bNkOQQdXOy2dMZAtkyiaCEJOLkRxkcrxUea/ktzPwOA4FUsAPb0UCrWJECghptVPjj0bAjYuDnMzZQJYfdnsdiFtX46IaWSBhHHPfEPQN7ewFtPszviN0JM0lKjAHsLKp7ncWcjT086Hl2ryuj0gJuzr0tFp9Ao/AGCRpQIa8cNQvVUYgg8ccEYB/5NjwX8GVHiKgKBmc3bP5rKVuVwtty2PIxmL9ebobmy/CBNzt8ALW9mB6huCWeatrh40c6sBpdCj1P3b6UoZ9fOdwRkeSgwzI6XT41kWXrrw18PJG5nyEeLdHXCgI5XQNhd19T9H3nBdXqNb/N8hyRKnUwTYXKSAq78tVDuS6afqfHk4OUY1vSjKuMNnCBcGoi8qPI4XyA16SLQjmakL02fnV7l3O9ITNESgAEXwAatYiBiZfRGh0BEwqSeXKw8LqpmNVp2AcE1HIVSjFG8wCBSLIz065qIHIrpJ3oFWFXw/NYjj8R6QFZOUR5e0piFuZ/qj5ABbEWc9yebGfzTnHqPHANblTiF3Fi5KfRzuzqYCPq2lDnKfIpBpsdcCZzOJ6Ysf/AzhR9Qj1tNs94WH4XAhmRIHshj+p31J2GoNyK9UJwCRd6wHclosQbCcOpSJeogzJtk1W8edu01PnB/yaqERp/w/fx+QBE89EBqHeT0J7/bilgyIeOnhcq+VjV9BnDj5wihvY6LyergQmBzMoB938iW4ysXrViZtjGqh7WKGSthMOij0odghneV53RMvhU6HaqVrd3itOeoOFlfSchWr0eixn/SHOaG1fAj904WLubgWmwP/n5ecyrZXi63q9zY6Juyym7o8QMD5Cgzp3Fgoz6wbj11Na2BI3hqeDMs824Exs23WKrsTJeQ7YTW9vtuaweS++Zr5a5z9zpsxCMKzrFrgIsse4VXEeDkogTJ0Vr0vCHO2VFGKqzC2rB20N1zIrETkWm7WvH4b0WD4JNp6sG1TUGsOU4IMX6HAgoyBtGAfEUJvd0THZOmg7ZN6h34bAO7erIF/LG0kvs42KNeJU4a00jqe1iGXbXzOUjzK+1FMO6A28AfMBWiDqT2XXyEVb7r8uqBKyjvBx1AXZidWUFy1HlC3pY19CX+O+UddD6GrNLgCg0WQvEoStX44UROERRrLIkb1B/sRQkd/zveCtV2VJbrCl3lY+J8mxbwuA3+GdIC2eoE78pQKRb/opSuDF+S3qEZIrd2SI5wvNnSYzm/oVk78kccdiplPiRTKYPiGsISffDiwrqR2YXERMLockqOwkYz8ElqyaPSSLECg79k/CLlJIwwcG8Vh24mu+v5gcwv16NJPf6PgODh5ttivCLjN6qHHT+VVgAZaWPYFLx2d4/NEVMZYHTajkp8U++izy9E2lrnwd59C2SUeCl1pfONE4QLIX5cj8MVs63KmzjpPx4ZqRNNEYQCr2qZwAmRUppIQcjuMKFNl4/VLcO3T3cEaPhjlDvGuVwkCezmR5om/33EgNtPJrpZegDB6jmtW8r678CrSBBEB5JEIHDMwWOLXSjfmh99MgdCwaXeL3iN4FR/dVTKcYn0V8LoSr7miQVaJkC6kGQNvWOrUm0QQS+mXqq/xIRGKxdoN+RsPQx9KUO+ZvT+O1vAliq8/lzYsSkpI4875B2WjpVUFj3eJjVrOESVwe33Z2jPPH2QzcubdscpqD1zyMx9LYyJpwldo+mXo80xapTyudfP5HeRsjkC0p+AWxAnrvYjCe6/4arKX/7HDo2iG2+qA5AjNcTD4cUZF8jP/n5/aJeSPELywXBc+7+nQpP8TcfW41hMEWNH3VYwzufPPQypgBXb5G941FB2A5NDCXr08yoUwt1tOEJuUJBOtG4xGSY0WTAvr39rS7qrLHnUTTU9/RxH65duzFV3dW7nkp0Bg30lEU201NZ88ZFlFTuNoL3PrAbCQa6OIdKtNnyoxR9WgLkRybirCok7IZvWLkOvaGdsDycHTAWa6iP9mtgaIfiHjvo0K1ISoGibWxo1Zp1YRphvqtKpzxanEvzrSeuN5yzgB35iVBHScfSi8DJpK+T5kkgozDdgKbUSJ8mTrdL5ypzZP0URpNtIQuUVveXyvGXDdWhJP6IWL4gcFZcBmnPs1CttDKESXjrD+uHAnB+V7SF7kzJf2GAPRPDBevk9Xj4Nl3Gn+5XkPE+Bh69pgiE0HKR/3KDCzyBbt9LLo7qLFDJwLp7HXsjttpoATKfMkNRjUen1DloYFMZY0JDp5WD7gDT6VVAj0k6WWK3j9CRfkdEV5r5ddKrBLOHM7g7zAI7QUh/3/oJ79RR3W5ChDSjFbybNBKgF65PpG7iCJaxyItLO8MGXaHcuxEBnwO3L6mbRESNeRoYmFlgdt65HFn+r0A5yqJETJFY1BZZhcUTdiNrmG56fyRn0p6xz5Egcvvs+Ca7UeuF7+Odq6CDYdPNAoRsrWm9EphvZ0+I3Lk+wDJKyipzwwKkeNuspB/mEbnuikc59sg0I+hsm5tIxqhzIOu0udw6yIRZr9c1XzZ6YrvuUALEP//SbT6LV+e/I5URVs+lWJLHEgPIkX3VSrEclnCyuY+wvG8pON+P2p36K7HAZz6n0nQZZjaJovkWN7tVJV7NorEJcGw65pIIHwAlCynVyk8YtAGM7KE8o2ZeJToPIqd9AyZRVX0QHWO3XUiWQIknYR60x5JE+Cz+QcwtU7Qyd58V4krcEJyWP/jZbfl+sSc+UKtLkQOSyW8hLv8/sDdsskC1rcEFBbPfYvPdt19yNgX9c5IZ8HNjKCPnJ8Ieg0SjNWJIcJwdOCyfx+NzOwi/HAS8HoiA+bp/BfjzWuRsXDLNyulpbfL/MhKv4ZcTgXPnEqMWkMS50Zi/oMySw+UPFoQ0rx93uf32JSpnErNLpa7uBRR0HLdlH/9D4E5dzXDeKdQG3nKV7casslToznGNkNnkjJHdXlIwq6qglaHrfbUr1OPnk5xuQOqLxyqyPVpgZiM/mV1aKypnkWi/wET6v0vX1m9q05hYTcNzimiYsvR5UCp4p4fJ3vh7ijnvSLprtO+Kva5oiQ20NyxKUsNmLoYCm+v25SRzR4xo05NQguS2lQTz47ODaB2FC81YEdYc9cC8OgpF+AVR0Cq2Zz5f1pMhOoA/CeQ9ohDR7OpaiLWSqCeghBDP4T2o1uPtn7Im91puWsKCLyMGRW2I0xYHG1vamhrT3umMZ94IrFO2K87lFu3h2KePr+9Qlk428ePEQmTcPM6Lf9To9CDbraD56TaD+ZroowKYWxZVATfFwmyp2StweFohVokLK0xyb+JHnuLIZQ4DnA09FPAdr38P1DVnPVtKu8bQXusO+N81Uyk99sa/5u70kcZU4eW/1MxyctZPfgmw/y4fPV+vkrLvMafPpoQlPXXTHMXIX1vbelTWKwBQHkyKlnHNc6XM4cRNxdpSzDHhtOiUPthgODHuxBJHrG0X6BEnvK5NvfyX8on3FvkwdTdEQs4tzyLBd7BAPJefg5+YvYFwJdtfhafdN7qElMnrHFp44BS21fWMfis1V16cQmzxKu/yeDIIS89P39DaW97dYjoJL/9qnd+dw4dDvUZH3q33gPY28QZVVkNo7dViaXaA4O61eKu0Wx6Jjt6U3EM1ooUUWvzLtveOu7pmxK2FD8H5a7coTSMNN1/y/rAF8icZCPWYzfbblvL921kKe8o+HjIQ35aVTs6tFcbIm2uaI3xqvl7VIX+35QRXGENr/dA3GG2Dl+tJq1iXxEwYOnFnkrRb7///HbJNm3lbcU8fpzh4/0OO+u9xxshhzgl7mBSpzrVNQzIh8z2HZahWzADSdQQGYroq7r9I39iCm9/kJUG5j8MS+ZHIhd0eTEVt7gEh/IW26/+wQhRdVxTuhOAWS+JvipADdP3XtVBNa617jfg0byj1nrvGeBNWRqen0V2ULIWEiPfxgkjzcATBxf8sAXeeRY5BZokWR1FWDyJa6UNzEyFKsnane+ZGyZ2KSRSxgaM+OEl4GbzMZAohMdvGH8OS0wtnmugYcfr0PWxDJC2b9gJAo/aS5nRkwFenl6Q0n/H9Yf3IdwKCcil7FvFLe4Pxbis0hBlf6cjQ8S0C9hgzyQdRIlLcVe77Iz+mIgVyfjmE1aOvLpZUUW1XwgJ0MnjW0UHASQrAO4JgV0LiUZh8GE//HtlXlkhHpTNSAEVivyj0yScdltkhKDiajlkqptkkzuoxzEbAC6dlXF/0jODABJW1lr3NG9NXctk6StipX3VKcshpEm/psumtT9bI+X4WU3Z4KZsZHuE8oWr+238sU6Ul/P+DAgHNBNHovb6jPyaSSwgqDg1bb12mVYH14V38m0L2SuyTQj4cqZlWKW1MIK84sby2PND64t0cystsCPEzfgld3DhkvOyQim1whKpIvSuMaRc2iuIPIPJ50703YqkKtBanlATqQNx0SJvhO6OFlXW9XSmcR5YLq9jwFmA43d/3y6dutaURo85GRsNEWGSD0gexVGSQ/JO1bEkYgHtjdjPeXjxzLO+PoWWWC+BPVavi3u4v9rIr3GIU04h5xBfFKx7HNJ5W+wR8E33Kmwx2t6MQFmkXJHmucK6EwgJ2uJZ9jVGKepuyzFqRYGrjuAIFk6GM8sNavrABQn3kf9TjwUCdmW86WLXW5kAXBI/zgcUglRF2FpmTkh7xeHfgRNhythhEnKrNj2Qq9b9UGEO5leqk75/8UKTM8VQ/AZkJesddZ7Sp+VXyyVqm3EUNzR2GeQkqXPnw/ehslf4TEdDXBLic3JX+G2xya25OvVBG/6OH/8lI7pdXVzKZOjkLxwgEu0/SsaQMYb8dKxkQOvC1tuaePBapW1Vb6vrYaGw2NVEXLh4vk9bN6MI8SX06jxAyE/UvDKuSLUQDEYTejbZvGSfCmGv7R9X91V4gimPRfP0wc2xULangWVnPY303k7xP90rlLddkHfgacHHI5D1yFz+wsdBkjQrhvhpkl0iYsbTwj3caonW7jBwJo4PCiFY3zE0rZW/mxTGxFeCefcH0usoOuepEUP6OpYGY35dV9CnItJTISdsGmCpxQj4NPV+LAHvljJ7jnTDDadY/1mArCE6UjGwBRu0ntMpkDipChGGc3LH+fcHIcTw+C+MFon5Twv+tYO6O+FafPOIZnvzxtdWVr/Tb2s2OkxmNv+JTahAD5005VKeUzDlZuA7vB6AuOH85AIZsbxjgLnbYIrGBAoH+xB2w0LwF+5Z2i117udzq0YXGHmC9ud7Z1fF49kR7l7DWOsUbu9R3IAs7vXFbPEip2CfLlUL2tsYoP34sSt7bPQsoklzHYauqlXgzOYzemZunRgFvhSIBiCA30ddejTwsmOi1XzaB3erhr7+PBQuqnJZhtL073ZRCAiBEQ7GortzHGuAQJzeWWDnG9AS4kxXe4ZUakMehKH3usx0HYnoHj+u3zAzGmS5jIi850NjxQH/DRS2Ud8hxDat4CN9uLwPVsNhoeR+aJVJGj/OqbDTRUk0FJcr9YhWFkNzT2OzRIJZcEQVfc/uguGLlh1yvp1hi+ySsc00rJ6RoUI0WTGrrvbtY0aKKXqyj9id8qgU/G8YkcipC/LEZaODUglZmpuxdpJTE0S8RtcNzXc8KwIszIgstY66ol+oM4lzIByCFFblKB3oSEfU1v5yXytmQ+zTAUgbFxQZkhnG2RH5RUWOvY92/fe1DdxyXPN0dgH9MQiOMQiJDpDO+8QhjORDBfOb3lwk21l1Hj6cq8+rvhZtKjzqRpAGs5f9krf34uWBzr19Q7vJ0HkdPi8ubSwzpXrW9uWzyVKNyOGvhHLakzkrooYg9g16W+5zwtZU2pVAc+05PK4r+d7Isq6zSb8TNYy+S6JS1MqQt9DspO8Ofsyh37vNI965PoixArvu2ffNxSCMTB7G91fM/LXv9xOaGaTQwYvCqmoGEc0iRJIamMUWFdEeVcILXsde+fP1WQPn0FJqLKXKPOFLugEM2PaM73rUf392XFpkPE5ZsJ6RjdHgkw+mpcWWj3eO6b2jPFul3TRPE5FaRlwbKRbx09ydvi4MnI4EvckbddDAyEo2U6n1eFKEAxQIlbX/9KE4fZ66uoLkNV+37/8Htr1EUdbkHDP3jvO9pO6Mgqay/B4DaqPNoiIIZWNihkuwvO/acAyTmTTQp9tH7UeGCVHwqHo1RRhUp5PIkdmcYZbi8RDbutnC4jPst9epJ6hgyNQRwVd7GZY0VyYFkNVj1iPlBKPKiyo3gfviOmXhWvTRy0yp7BF4lq6TvJi"/>
  <p:tag name="MEKKOEXCEL8" val="False"/>
  <p:tag name="MEKKOEXCEL7" val="False"/>
  <p:tag name="MEKKOEXCEL6" val="False"/>
  <p:tag name="MEKKOSAVED" val="1"/>
  <p:tag name="MEKKO" val="MekkoChart"/>
  <p:tag name="MEKKOCHARTIMAGE" val="FIL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TAGS" val="1"/>
  <p:tag name="MEKKOXML1" val="4HooU0THZk28POP9trq+pbTvvzd/gcV8t56cq85kb3NDTsUhojRA0EsgEHHMH7oYP1SYpn09ysXVivguJdhTvfyVMsBLTGvcX7WPTor/CmVyQVjyokM7xlm8PFv6NJ3Ll+Pd0t1RM1iWRMiTsCLr+UhIBvjywlwAple2qtJvWKUbSyr5NNeGskRUvQFHaRCBJ3dzesu0anvzgA0qGEKPwTFuhn4a/Ef6tv8WdokKfJHV0Zmoi7o8JxIWScKaTyFTG3N+7SNMN/Lv3HJTT1KPdX2nlRv84eD9eRunTh+V936V98rM67AmjsujNPsiw0xSnLrvzbh4bxZ5jUYK63azxf42wLR/nYiLFAJ43ENEzjZtOKbN89MKz7HYKDPlnAB8fQBXQ2NCldW6kuvmy38TlBlHveq4eEsAWrQVk1pZLgEFNTSfrbwFgcTCXcSzCfLlD33TvGUAU9zPUcqnbSyOT5ajqAty7dnv3c0PF77bYnzOlmFB1MFG5zHG8FIEH3WiBOQgRnZfKOinwuMZhCUMIoPempDh3EC34nSoDa1KPl93YUwBHeDPWOhCI9QOkrnphjjhGOT+a5hjdzSER3iAQN7nPqibI00vEUY6tf/v8aTSehzXVtqRS77GoafxPlmRja+5ycQlSzjrtewnKyTrbizX6J4U9iadWtK2j8AWDlh0tyz1mcYUevk2znrRLhaouiDBulw7DSlMF6StvWkJ5xdJQ0jNjS4fKXMw9KPnXueirCmg+RGLNB6ENJK0tBySSBWz7vsMG+/g997N/dJEIQl0bXZCwd6AXM7VJQLF75lc9CFaZ/PHHeGbNqufxq6eeFKvxzEn1Tb4ZFRjytkQa5Wejo7uHa0vp4XPyTXIN+QKuvfxI8hf1x9cNt+zh/XXd1HBdgAjJrSdOGOi1mnfA4zlDm70YTZf13Gvq474O3EJZbJRVgzHQJ/gjTljbykv44bZqPSKHHon/Xu3XGhdrD5Ory81G+XQBXuJCUgELyKUN5EroOvFlcqtyrjc9cFREI8L1MAkJsJc0KpukFJDptIscJ0Jfyrw5cD3WIwVD7KsCuGRzahLsh194dqF5DQKIA8dr0VTosWhiIIzkUog1DZU0eRYZ11vtfZ+9p7pvS2SydUDqE+CyeYRj0NZj4yoO3ZOLa6KHPlT26KuyfxnbSIzVUIY2dNT4DnOlHavd9T7PsfEr6vHua+HmaOR42o/9+DqVh5JifxYjkL0+1HmXXChyInjKH9jt6DKLgf7cbtCt6Y64NSVhCRCQbZorb/woeqO/1wI0komrcpGTZLpCiGWPiwos2h/FSfex8nGE62KmMtzwHXhRr4oe3b3eeuoF9ZjwTGurDhbG8wHkgnMHgIZ3XeeIeTb8Logr5Py1hF+287CXz+3MLNQr9HCGxVYONPd5+XNvv3yADkjdQdCssJ4/KYmBebGTRkhbMkYH80vjVU+c9bZf75KaIBLuMlu5bEEvhxuu6rrupfXpDL8kwySGw0p83hDmwXZ57GY5yLqEzt1jK3AzddKiuqdJaXzlfFQDiFWRgH2izsGs65OnE5BGdgj+IvIbzZURyWprB+yFK98Lgxe8ThuZFjfDaVLV3TqXKhO5qbOfwGGoWp30INuXuii4Yz4SHeydfIPCuD+64Mq1WZtMPZEPNANc3qPH6gq7LkmF/+c/dNBNXgUk+bXAn5A1cG32I5ZgigR1u2qLq+cXrDxsORABOUFwJwmrb7pauxkFw1c1u1S/lXWfP99GvZgTsyOTwkGl8LMDnDlQ7MkEK09SDgE+6NINbH86BOtpbjJt89BA3VseWlIDfbiNzqLVUMncEJgSZVWi1LAOYKiz3IyOg+jARM2mDLsL6w/MAkYsAjduTgZirRW4oB/VduMHh+Xl8wDq3FMmEmyZOhYl9YNw+ljgy9Uk/JPr4sLyAaCHX7fuFd2O0Bf6T6VzoYRyJK5rUyVsAkFFslkTjvS7zht2ESUuukKwTW3gZNJPsHzCNyl+PEv8E3CRHSSRCQdZHYINB5kX5YViKahU7W08YvAhuqiaiXeaNib3dicpDsSu8NJon0mifgwcftUu8a10aGGadt4j6jNTba4UZsI/pdL0IuaYwZbTpEn2kClUAxObS8yTFihlOhHhTA5H/p7+2UsorFOG1MgG6c09n0/LswyozZQnwqKelRUcy+t7pM+KwApucl5CB4HHKecCNSBwvXToyp7P1tf8T6ZuJGo921VvJj+ftx/Nr7lOnTqrPGPgpClGS8VdZJJI8qEJHfiDovutlWRxVUIDyo5xCadUzmuL8VbijYEczdRK50dfH8W2yDFSKFh2LjeKfEJBGh8O3NA3QIaCUD+6odQdXr/DeMEetUWhTRpTz0CchsYGT3Gh7noW9RQUhon7osXPzDhmBl6W6SfQMo5qz3lNN4snLTL+9rNALoCPu2flAboalK6YG5vKMmdIZSvEgK0OsZQn/pGdJc5q/gPFc0ZL7DIUzP7Fqe1+Uj9zqTdC/igtdwqcRcKI8qHDo82Ju8Lhb501xBKOXvKOpZyZeOPjuiVENMy+IrrnHO2xLY29nICaLvm32d89xStLOY15ZQcRNSkvZ7pdqD2WaJP/1KCV6vHU0PnM7OloqifevuPEiT28KjtROizTtLtFydo+tn59Ih0N4OLRWMVILNH/zqyOqg+SvMLt4JrLmDIsYNL8VaWFvdLxR3VmZ3MEUzcPYPAoAz9vDutMhnkSnp1O2BfIqAwh8NsD70Be/xmUo31Y1LLUGLnrJeIz2CJOYRMDV+eSEXDizu4x6ryp7wBhHqn7ssONpIFfzy6w/KfWxO3oxbUMlp4Dpzc2Os/k5eIroPnAKyzKbNbYtaieJXEqsGLCi8uRLrBtI6d+PX8Ze1GeZRdjvFW/4HyNZCqbC/8jZeLZKOxY9jl0GcapnVGwnvmZ0JZJwTI7OQhD9ibuYEsOfjBz/JguSI49U3cqOa0W4UcH1Sz5uPWO22+NoO/P9wOXzjUos5TBVDE3w0rM8KbTzwT0GeuqQelMko+fI5vOCEPm1g0DRrKNk+fzj2T7YwrwtPwLWq7s51vOCqUwKOIGF/IdzdpLseDF2hpONgmon2QCoPQ8NFgyPnvwH7MmJ9GMFG+SGXKlOvpTAamv2OwD6WeI2xazCnv5MDa/UN4t35VryZ05uIyLcowMd5uj/E9uF64y7M/9vATmta4pKa4F/0miaSEIO3zZdJkHXi86JJE35iAPa1td5QzMTWT0bNRXAHoX9terEZeDFljNX+5E1DhuGXaQLYCIhNojL2L4nnlY4oK81Pwh7y5LqI6d8BcA16obP/ckAYMQ7P1QJp2TPSe1bgjm/7T+SBVAFXAdswC5vRwd1OAD6Zg1Qje0DAohDGc0pKREsSaJpu6OuS2MfQMeKGsHD2FfToTftEO9/Uq9DolPwaYxIqEWG5oOFY/aC0inN2ad9Upfmdc0H5Zgs+5NbCa6Kg3aHOdAv7g61YCqXI+9kh3/KglWT8eOdHKRJaBQHy48ZXQ6yaXqihXzgBlEA8s3VcFrmNznfjPDED0kCE5eTR6V1Zu9YtBpen9Bkpry22eLcBBBDvY+OTcnW71E7pgA13r9Zmt4mrtQWr7tjDn4AZCkr5kC3U5CQVn6xHIXaXDFIK2B6KysjPp4FuBvuYnUK89vPeUv3u9nGpkGj7Majm6K/TvetrpTQklL5puap+sAbT+t4jXMWH2Xn0BfiBENIZcd7FwaZcyRdexvu4sET2RvmtYUuRi5KYFCWHUw2aVpBAb1HxoN3EZ7JGm3CU7RnizSbUwiSe2587dsqgMT8nolLsAXLFTo99icCBlssb0aOoZd9EQ92629XVfKecxrtOrz8JJQMXwH1eKYPSjcsuVmDbAduxJpKKhjKxxMalGJ8NYTWl2VDHbcejxv+6aLgNoVvbsu1cRziA2P24U2urmNolNmDhgE6WxHn86yFBw+MoHU899gWPz9aq2eDZuISMFqXNk8l4dcgtdgDnGElERtkYEP3aHp1xTqbNnp5Qfl/XD+GZm31y9Y9gxQTmktStw2lpyNu81s6pkzPlfYHrJn+FhBxyFIwi+r0G9MyG36e6Xv7ae4399PCxmp6VgsK+nlMnHbhkwIoXWCvBKVqBEsUWuXfH9hVcftXprHedoy9UP53UevwE156Z3PbqBK3BWx5VQkzncbk3sd+qpTCUFcVZm9upivNSfJNDh8kV+7NPgtaUoQEab4gxEGi5wfMySbPwtH3P27xE5Pik4tkfgQ4pbwR02OQVhOKTCKRJ6r5hhLpNmbw4HUeYbIQb6aMbGD3POGggUKMCwiHDvSnYC9YPYesBkYs7DetRbjBqixLeeviaw6NsUgMSNLTF27lD8Zjlcq1J5QUvR54+tZaHxO1CeMRTXv4cB7snrfIOT4ZTA0SlG5gPNHyV6F6/yyn5IaOV65iNK3HW+jnHqLGk1UjEzeyvnzrv9oRyt6kyzELcVQGNCaPzCMcuI9dHtnK1LczqQqlv7aKpUgJZR85U8AustFjyQ2cKUdLdlpLO/tlt3zxX1A4mWXgAxjiM+FNKTgS/Qdy4wyq0ZU0W/7iAV3HSJnkwTyGvx/4eOKSLJ8yYUlJHV068CBgolhhUcBLqWCfQo3vrYdzPzVfZ4mQUNeItdgwxL2axiJY84LJx8Acv2llR3zGnpO7J/i9ckkuuhl5SD+qOZXsE0hSD3CSEjBOWDxFrpdLv5nsT1hqUmc0iFonKkPDLrPpG9oMhJE7bDZ86XvoOAyQDo2j8mr+jRfwufjiWkZhxZQ7YdwE6JZ006MOV/2oqHgZfDW2mSdlYm+qTIZbyUxrEoamaojkKpmf0p9hAMrZjSML2DkXcF/+pK6uuK/FaqqsrKINJXQX/uVRzhA/vIZz+hbhC/dylF1cIvuzunGp0r2lk2vdSYldh/fcrsCfoA2qb/KFReTElJsQaQzdruIy69hwu02UX1ZnAQtSpFRX0vVBCKaBUg/e4Q9xwVUxIJfXbvRe01GGEkTQaELLHSl9PqoArwMrPoHjBdp92Wc9q9nVQmBfUJWCZLXVqJlqnC4g1SmsskauDq0bZQh2QokYBkNmWwZ5Zr/yXg13bWMee/DDW7+EAzbTGcm/QHqULbm7TkrZzi/gxpI8HT1nkri3PmFPSdxxAoA8XBpqps24StXONGLGDYEE/pkTbdya4ezOXxKBvdbIlfFfvILPpOtQLNb8Ecv4cZJT3XVmkg1kevzpOhh7WZ4+/o5JLXCMysmGSi762PmtLnAEkN2PQbcC1gSAZ51OapP2PuMzyB9r3Vq7olVl3ZNg0AVf75LluHxN/ID0VN0EYUKocDygNiNPBy8s7ZsfSK0OzNxXM54hE/IMem9/Oz7B+cickQiZz5Zbud/wHb4NDXMCOsgKm//0DvgqzG3yboPmUsmE4oHU5V6gaDg3xOz2ZG+fxjWDGGEb/P61aj4IR9OwT1Nt7z+BTttnkt3Cxu5eT+TebIg42Cxq3WQIgpcDbn1TIWLaiie8p2WrwaNrOteI6OG3zPMnt4ix8b07dbW8UOeM7ArfrAGHQD9ngVes1Yn+XzpjoIJmgPC3cdY7vzJu1hgo+EiyVmykfyliFWRpBIuWnWogEdRc9c02DKCSzUss368wA+l+WppCP6rFyyCLs76wd+ovNh6oks8uGmN0vYtedqwCPrBBdalBk/BjepdOv6zwNjmtqCfLdmZhoAeAeT+keGYim+Tj+2R48t8BvVunu0sQFC2yD8YuLDv80TCDdnAWkgu/fnWWTsJAoI8Q41Gdgfyy/5Bo+1xB3oILLVRwUjdFJidkhYIYKB1GEgbJRgkkW7bJoSixn4aAMB+VQHXIRxai0FXlalC5oCbybvU8flb41Bu7wUgNrKYq1mRH6y4Kusq0WrSjUD0VxE4OWtWVWP8TXvmGjRQfR25Ch8/Qz4EDI51bsBTZ+R4/QjqVqQTUHNnZDWvw7gdj3WHrhBZSpw6dXmt/8bfvVqGENNhtQKrVf+5typwVAzfFZHXhdjDEd0jINhpxfBpmpBzOfnG9uIq0wVlltCP8d4klUOPKi0xIn1uv+M25P95B8EtwfPLIKP+uVvaE0BnOBbfKgEzu4RMnz0Ad+AHKdQNIJJaSQRRyFpG6y0t9zIophvMtXG5j4KaubUTum3qSxZ49ZC/yJnnYYveiX4tuzXkgVG1gsu87Nbt8nRUVdLUG5f/TLsfxF4MlaprqbCvgTvzhhlrMJWDxQE39u2xiAB29AbdqmsvZvwAZ9uObbOvi4FhmXXXDBCK+x2mt4J4UC3b2BpcGRVBq9DEcOPgsY70nccSE8HXRfeXFWeAMEgRPpKXDWmrZkSQ/z1+zzlvzVYsRsQafvMqZGJYHN+Tk95E9uia8SaYZCCfykh5Kccb+lE5CBHSGWNO21AewagxsXqeUfJAz6utDj0rXG7Bqb+fUrjpIa1gl97yimGR2jjawDffIdA9N/+0YSGtOvrc1zR2Vt1Q4WYYro2gGw8KdhjKNkUueFQiwwODJDoEO+9j8HemsAbWfRQOi0eyUCxy/cC+VJZO3g/OjOqPsfqY2AUcrfas5MGo1MvtqgTfhCYsspylL1uibFta3YDawVjmTd5oJR1+z5pJrbWWq+pQLQVEsidWO13AZromI6AsWJOL/dE8ird9uRPZuQr7z2VuhCLwZ8y28J/p4Bjh1YVcaf5AGipTahCLWeEggJQtXOXKsY+xzeVJskMyIFM3PaaR+LnYz/DRz6D3cyHrMRQn7mgaf9iUR36eWeq15pwv6d9M44lknSptDct4eMIR1NWZG9cZpmUz4Dm+C0p6sgxTX/3IZklb0kMO2euus9S7tSi+r8o6A/0Xd6LTKXeWsw35Qwpz7Dty5d2HTxjfRuylRenuxvk4qZkCR5oU7TmiQOHXXZmOiaNnsqcE+Pcrvlsl3dSzlkCTcEZRK11PC30Gzpbqj3EndLcrlZt/gz2kpb94nc9K+wFTQ70Ff8jZ5Phi2KHkZztM739dsk7AJRW2btfQuqiW12hU4ETAnOixA61X8rcFzB+GZyk3BpWAtkoOjfvLePbNlddtSQ6MvHOK9sOhVYNb5fNN/cNY70xG2YgcrPynBsxQhlSBS2T1UqOjxY95El5Iz4n2I7IAm+ktfqQfXmHwSPBInkYVmKxWJ7mTs+qNqK0njCdX/EFU60y4pMtVTe3X2F/3GNCrrum3q/+Pzw6KJGIqlewbw1djK3KqU8yQjUWzbQnnVcsVFH6pHD9b/s2MCF3YhE/qeeZbHsNUV+UFA6rZAT0oODpjXlwYn/js4YBDAn+Ic6vsg8gp/d/Jqe34OM7rPvzy9c2u2XtquVOpS1DFz6CUsGAvOR3DdvA3jcf5Ir+H8qKBxtDHZt07lsKwH7axjqQJC5lkhnOAdtNZ1dSLbb6YdeqFk3VNB5KukFclTbr6UOmSSkjf7oU8hiOu4e4kqPA2iPYWZmL46GEh2vWZlFf/G7/r8ekjff7rT9Q97sS3M8axOIsIUroCgXfzGUGlzxT/jheGbhZwKngopuZwY0Z4lhz3mL8EAfbKpz668H4yUHEDED2f6rSsnfm5A+ZJ9YemcTZeN03P0RdDiiCyPQLVRgNmbbMumFBIAklWIKs0/YVqYTNhPPLADxllF4jBvd07+w0zab63zm1GZR8CVPffslxqhQg2aiN1vTQyiQde1nW6slYc3hV3U3/y+SgJ7Z+TQVoJrms9+zgYvI2cMxaRZDuprniiaIFNjtEuf3nWvjaPl4SbFaVPggeLGHwWFmz4qX4jwk8DR2kgBC/GYIuidXYU+jF2wDtjq+/eguHayCVpdVqIVKn8OhPO0N4gXo9r7WF+9iXFeojvNpK/VJNP3Z5wUn33R91gKskNhnCeO+ir8uWtbS8y9Q04Q3X0jUiyBy6TSEOsFiBbBFAmDsZxDqZFcYat1MXrVHqtJ37xigkDU9zgH7n0B+QvOBMiOsv6qSw/eM1J+YF5hxnnWqFSNRt+7wZcKSbn9gx7TXz8GXsXsYUI8AczGyrTEnQyuHI2I/krxONy54t4tQmZRjyG6w8QqQ5YOaM5IY0vq1muRiXYZQwYO9NfR3xIsbPszzhG1DxXELKxxLbTHtfc/VMlK1ui8ConAjs8+uqVdre6CTa/H6adRV2kx9gwuhk8X+YxdhEYCdumW430aZH8EMu2mN8XmUYGDPWRuqbv+KCEtmzDGAYg2ePmR6Bz0EVRtbS1Lwi0s+JotKbfeJTNK2lArUe9wuuh/mbVDo8S47/rtpNlT5Oko6L6oFEE//xpcm87jfK6dnAdlv/SIRTx/sctv39+uw7mNrsqSTQv+75txCZyfYXY3Ujy2em2iIa23C9MHLu90SGHOTl+gDwg/yNh1X7/l2wqjyC5UxAZSBslwDhdTUyBBy7lMb8a33asGKZZ0DnXdGmK6/7Vt88rX/kQEwnLDtdDr+ILP9vy6UL7YMWjQg8Hnm7Yoha/DnlwAsJsKaNzqGGQXKldO+mzV9uoEkzeXYpbbzXV1aHkf164MI22uNxeOaqQRdQLQGURLnSD0j0sOAJvPPugc1ZUnqXE16hgpfzOsw3O/kDwqR4DSnEQZfP0YRYt4mdT6jEmTUa2FMDYwXOKb3V5SuCvcuDgQA9na0ixYsESQbToI8pDYgmANbLf+WT7clQQYrARe4uFI9HR7H+nvxY8L5pkRWIauG9t/VphC9BfudVu5D7tU9cPxZPfvks2NjOdpFXFkZJu1ncxFrr1Hlerw0OrrBEzMWxtRQx1k9jje8V+C0y2+xd932ds4838DaUTqpxBoyaAwsBQ8z2RXQaO4Wk4262KwPogQMEQ1HXbCCsLkpmwBDsZMHGD+3DcwY2ZhT0e5UbIdyrH9Ed/F621M1pldofTYZVk175mDBG69KJ/WRc9Wva24bJhGxssG+pfcxh3YbiUOyqOEYf+LO6kRsJGgC1TRZG4bwxkPn7TSVlltQMSwrZFwFAuSYkeAMcWlOGKhjR9WO+zbXiP+Yh7gOlmd+Br0OHVPFR1d95poCs/wVzahyBpDtAMSttqYDy1t2geGmdHVW9vVIdxSHo+BmV/dJJUWEsl39jGVVD9K2bUyX954g03kwDMb7difeftZMxlPXIxtL/PvACMOe1YBOvtxekjjypzuNIpvPevfl1ONuNNGZq9FGUrBsk8Lv5IyHR9VbMGTYfT4zcZum+Q72w4wULTO7GC4DIIqohv7AVai94JkL+JPNfY64vn1jibJqV9+OBRyv1+VzqC54qJ5QinrWGNcYbQu8D0nD9LLX6lqLjrwTuGBH0tuJNQwaNUs8N6udLtAYzzrbEOXhb2yd0DoEKIv/kqFJI2u58OaX2zzvKad3ezE/FLew6eWQhTIr0u+egWaaYPfnEzNxTsohnUD76/3LiUV2Pc0cU195W/BQ97cqcDB92THCDDvbUlk1FPsSpXbGXfMu3zyYLay8593AS8Izw2egMDict4N7GgUtzf47j0QbqXJzk7Jz8F1liwaGffWg4LEgK0sf662bWdHC6tNTVOLRbZXou6Tc1qvmVo7W7wCJUfohAYmcyEeAOExvrShcRa4lwziGUa7q56V8WOyZTm73J41YyvUoqdBOMGexX5PiohV3OWlcpydvGfwQf87GD0dh3diKrXJXEftkaUT3Y8wlOL4suElaVzJQuRrg+EOuk63et1oIbQA410meTdZ9y/FKFv1se0+GpdwtbfYTiE+p7yk3w2bOgeXLUfIh40DjgiFesbEtCvQACo5Ymw1JYAdvGH3grQlQJg4qxGcXg12M5uWOMxsJrsehMR5MLKCQgw3If7wMpttolBgwp/5cXtEYcgLgZuEOdbfN5JQKfK8ZDOmUO26i751O5CAMuCEziCNFQLqwRGT7m4CEkxEsZdpe16yUsnV6GUDB30HzfiU4mWM0gfjlAWB0DfApiuhGrDnx+7Fp8S2d1ri/mSVCR+OJ58XHcft2FZt/txyrDMmyqgOiEOk8e+LE/a+S6vYWjdSgJkrUqToMiDG6p89jgBthwyzAfV16MnNfge86n2Eu51kblKOoRAjX/YVlOj5NBeH+YH0DqYpP/5WfzQwB1Y6JMeAevRZroYHEJHveV6LaC5DS2PQS9QJaEmCiHWDzGkyXZAvL58U3B0GuXoFdySnbOjxqewsngUK4wiQ2InCP6hSVTVbsRvpTlGVZo1gPiO7wz66v6EIIqKiMNcsrbdupeg6uFzYTpNy1D5Fxwe8pAlngXeD2fAHiBc1GbKAcF994VQQSv+iZgkhZEvRU/TMRnGhmudRG0qFfwQlZ7uwFzIsEUg1G5EXmrzZFslKQ5DJaKxbgLMVmaD+cwcTllWgRmMjyL2kzEmksMPMxGix9+Za3g2Ua3IbtFohkDbSDi2nPNOs7Xs81sMfEaNTOVpFQB/c1O1kLl+0dB5u49FV8INRKEd1bMgO6l0eBwLpEp/CpWfk0TfhW43yn0sTUVnXbS3QTmsoMIa36SfPXiKvofONRJsVq7eQW/bOnI9Lf8f7Ay0k/A6aqH559kS6qzpzMx8PeRLtFpFTo/Vcab+0tXk1Q4JamMxoPld7NcWC5ZXtKdNVMuumU5lz6FAKc0DwBBSgDSV7RiwX+GRlyXJloufQTtLv2NXbeLTB6GClZ2CuTfQL7XiN3ojw57a9l718on0bf/EAUk3gcQH2FssShmJ1iJV0r2TWSbn4eGkgtYo7fmpSRxX4RINmKtDfJk4ZD4nPsGSi45w2PnJJONXwFVCp+fXCbDegVEmts/jDVEEK21k2C/abESqk9F33wDsObHU1b2ziatDQ4TESkK8QKxG5+Og4XpVseLiUa6ZtuQNKAo5D4QxmbzTWc+RMTQfW365trTJQrC9n7hOfrxIsyOn18wWGy7k2fMor9IOc69mN2NqAwKayQjtQ/Tuomczz/4CRDdWruv2kKU3RdJA1Ea9JN3+zrmKV63hkJrCFY8MJer4cyWD2tV4r6qsNPxXVtS0NhgYWXJK3kOF5GFYTfHyaWjteNPItlIzn0hy041VfwfQlv87mQibbmCMaOFmQCInTJj+gM3Svyya7GX2MgREbUIvWh0v7wsFSoHyqeP2WMEkllU1aYb1FXjT/jVUw7iheexpIy3gQFWz1NlxpTz/luPB4eJ5KgKm2Hfv69fp7MUEhV0fDYUr7ks7PSahTGol5Ap1G0WESjGlpRdv10izGp4VnBIuRwmvOJZrKXwwPlMbiQmD95s3st8xBVqYG+ciWnwTqdgBSbqXaqIobuN67ni6Kca0wEm3VqvV4K6QrVu4d8ia6sAEQCBAxlClTBcqFxFJ1d/czxuAI0KFTzIilLHNVMIiu3Tt9sCw5lOLawhppg1Hf+g+dxfbJp16qCNJSSLptHUtNQTXZquEj4K1MkR6M1haD1oAY/+XNMac3s681ZHUjLApgVRAlAMst0iR1kN98q3DCpIPaIGojuggybhongOxh2lVwekBbAG+ogJ4vWLe24KINfZo1BQmzXZsl4V1pMllnsmUa5TPlR13V9MMtZozuuqLaUY16DH8JnpCLmwRMwu8/xFB+YvPYjtWLOL5vxhXTXrwDnKDauvIlLtuy1NDo4jSckUWRCAq2TyvRagydBSwwM6Azo3u7F1fG3hAWjhLkMenP7by0YD53EwzWx+EBXpYN4gZPAj8AiB2mvjVIbjcXT9f3c2A1GxaiX3gEfBVR+JhzHyIWeM+8EA9BZaLEwvpGrkApuyVgj4Uom2nrIFE8c2DNIDjW2qb/3cUhQ049Pvlv9Yi8+C6o9MHY+TwJF3jJtFtZGjE0mtjQDcuomitTAD8oW7jGtPFs+drKFD9mBe2y+OQEgqLtwblPiGAcWAu/M845dmXmedaylWecDSnJMgHFlz7eazYonNFB3/NsR0wF2OzK+02OA5+4a/i/A+AtBijhxoS9LjlucyepJLYSD/NzYL5blC4II0YgHH1s1dh2ApBcvQ6rSSWmRUUQU63UXs2ToUtad8k0HMGVACf5aU1APDsdufsGjYZ5HjHbdb4g32THHUz8bEN7k3m/ahA7+RABw27PTBhUjnZ+cTWBflvjhw57KYhlXu0JKImdueBiOHTHxRohibD2OKOAAhWo7o/IE2MDQ185cNWwqajG6824sl5RhJ4Tc9nkaMLQdvb5FAGeBKv+8Hn9V9KozT2Sh7v/zsij6l5YTB3KHUZL5UwfcKSLMZlVCSfiN0ujTpCfHkLe/iV3O+ZBSe8grN34dofXZwPl/l/HOnlIUizLZD2ZQnS17ltGk9n/8YauPk7RdWlx811Hv8BB5mxuflPDEL4WSG+BcfogPfPOgdnDXi/YoNfNpHooUu3R9SS+JpNQnN0gTVq2etMxnRqWg7XwL4Mja8WrJrEypYWk7F9Z8yAQK1l4uNVLfWavRktKYPDfvKwXHKx3//0bpP6W3DKvhzVGaFFemBGMZNsp4vHgLMcr59zI02J1C1LPFo+oBXtShXNhSgY0XYUQdmI808LB2WGw9fjthZZM7wY3bAznyP+iNLg7Ui6uefC2RbAsh1tPjB+y30rJ3lkUfQkHOcZPkp5gqQp801BRruLbqhZtS1JivLn6P2pscoye6vhBmkCyJ1H2eAugFxxs2VRx3gBrS5JLyGsh0AACr2tzLtRuS+ON5pG+MBvOtF5kvFJcTweTDU8hsoph3gFTJFGyeZRRCEvGzZKxCMOuE8ZnTgSIISdMy2hUO4jWByeS5c5p2LmODxbEFhwTjc93uJ5TpHkKYGp5SW88va9lwQHRT/P6xVoBH/S/HnAtbLuGg/q+74aDcUU6MOGiCiJfmOiRzbwHfSfXc4uWrJSS+gUEB0FNMPVdLD1QWouzSaXJYJbp2olFACJBCefqiNjZFel7NhAyK7ixWO7fDnk4cfU4hDY2l5U3E7GNkKDY3pzh2/jth6J6oceKd8UnhljqvTeHM+oVKDtcvypxB+yykeVegDTOB9kLv3M2TZKhX5hIeOL8fH7qQ1OILf9eJtWJVvVI6phSk8ICrYs9FXe1dq9fczi3Gudq88c6h39Blw0Rhr9daWn1hgvDUjnCSJ/4RjgalsmsgI0iFFNeMYFBOG9dVRVbP+pbarMV1Mfx1Js8+97E91Q7O0Tn0DvA6C8A++zhcL7N1y3+oug0DojWWvgndg1LLJ0IcD3uflWwzDEJ2UMfOYp7JKjVumKQCtPyjNaINCJHuYbxymbphSfiiuPzIaMzeeUeZsiMNwcRKdeFWXrP/QPcseM3yAx52/hmfgoOLWtu1OVO9U9dbkIwsZBQU/Rxa4CwTUA11of0SyzI5mDT16VGQAQqIoiOIo+awuc+b/Wc6/3cpJPgB19fjo5+BU1b/Vukk00zZsc/Zk7EDJ3JtX/o3Kch6yROLU1oY7dwHvO8LSLO6Jo0EWTx86+JN97A/IGDITY1VQ/dzRXEFCyHWD5VJyjLUjmoGdT3Qfd1m80YQyBj8547PKpv7llk5ombm1mEOfmW4RclEu5msnWxjM7OIpXvQEOPQ3Q72aYPR0layMyBk1FjOo89f9rsoVEYtRHVmZFJJk7kiqZf/LPlYSqvzdSyUjS6kp9DK9FoI7bd5zDphwPqPH4z2tvuoZsbPshKvZW6c0Fi8zCbMOv8IXJ7b0c2pCOuR+Nvx6e+2DoTvJXKPCIBc0g1uveLDmWUHKtzH0Ref9gnEouDcu+/7VvffBWb/6AgoINhpmoH7a1ezHLJ3S6hpxqHMgnvKKEGw9136pZOZvLkZVpnXJLPfu+uht9NxVAUEs/aTWIBY/CHI4Qe1UXKTjeNyQ4vMdIZ1CNLXmUIsdnrkPtQ04vIyzHE/5k5U6SBJlR0weGyR7EwLLZloMWWBfIY3BcBrlKdaQeNydH7C7glMH2HNpUFzGo1TJWWEFERc2m8sluXlOt2v14L+u5cjraaggM8vej/Fs3X7NroJP2q5UifNEinB6wJhKy1QITyNv2nPCi74WgL3pXW2RJs1M9GBtM/e2s43lWPAz2uXymfS1tSgfF2HMkQOzUAaZ0UUhcyV7Zr3c7bZgy+LmEHcTMzwdMTQ5DZvtbSgkN7KTloibAWeIivFYDbuNkICvLWpV45N1T4CGyOqAdr6RohkFL66nGP0eC1fsOrq6+DGM0Gk9wzTKtdky9IVH31n4dp/HKoXGdMv+cjxDbzHex54jd4Welag+g2Ok1/YwvzZYQUWyaDMz1d2UrZM6l9qPkzTAnMpOstU3SGhuMR5yRPupn0hZFeRydrzVrif4ODeVifB9bki7MNC5/upK/yPBiCeHcyaQyAH0so1F5pnOegPMwcXSGZpgJKgfEkcZv2XKbqoj6lOZusKk2Ye84q1anOr6/Qrh4nelGZDgklLiHcJb2twqRVPpaGVferm4AzmCFvX6hCUlW6+EJHhOgnc7czXJEqWxkdgEpAkeTCOqffhVo7EssSRkYt8PyXbtgY6GC6EBz7by0B+ePMcqMMiGjouupsTqcNu+IT3YcWRA13LZw+tc//x/F0O1+IQ2s6l7CseXyZhOxSFDab+OnJJqMZsa1/QD4qnrBwiwHGMiRjnpwvKeXlDCEUyBIy8btbbtan8aMaATa5Co6f6AK656t+YTJGLOl3N8AOGafhQ1U6qnVeXd7BjGCPy2alIMtzjxWfBiXU//c79QlVibtGRX/5efJBCjmnwo/Ql0sUeW8ch1AxnVElA0sbNMGBzVOX4JnUHNz2y7dCQUXrMxxNXHA3VL5SqosYECrJjcNEGp52QaxVlMPDby2m29JxKLIpgGRRNndjtftm++Mqme3bwp7LxpNeYdw2305nhgQ4W3VkUtwmJQZ30iS+1oeuLH1JX23WqGkc3BxGl8Yt3dLCB1T/xRjJBfCic+U5plhLipyJ0eesl0HBog3ApAbNxc5Japb1E6Ww0waUud92QMIrWGttMvVNuaEP2flrjJpjkApGplv7Ouau5kPg9NFSUb8Sf7YfKcJ9OVsrn/uu3sl3nvYxMkxOeZpi3wZSIZGroHFAjQvhaf+jg0bDW+OV21UVOsIYHJ46X3Vl6sPcVoy4LBWQwKr/Por+poUBs27t+v7Fr0bKZy16nv/CagpXk8PuT2beb0/GVq3nYeKP2olSV28iQvUfjFpcof9GbIW5MMPsjeL7nHoZNWSHJcTsHBZPP2k/oRWB5S8m/pdmqiykSJkCxD53LYXda5EN7B4y2l7dj4MF1H9tw3avG/+HR6fJhNuv/ixs8WRlE/JuIvtTFP9bPGy7ePqI4kTx27uYi4mlWw1CcOcSsMnHyILVrCeG710ONOVEHmjIX9/2jIYxOSKocYEtlwLUHIlLqob8J55OQisLqReslOdJZYS/OWTZqv1XEc7RDkz32V7/WEbbccNKuSskyePXDJWlkXrGAJ+Ls8icoOnnCcpKwqUEFVvV/w223F7uTXPidG0c6uS8XtaTGygysOBM9PARvfcqo79mnVxTsqCxMQ3LorbwXrdBTc+8fUFAPqRQIko7OhhYYcdw/wA6wFhZfy/35kmFsMfIsIx95Yg/gFkUoAcxUs/uXNfz5jSfNpEw5Fhsj44kIooN5O6frVOwIrqSJbnb9NKFxCTpdykgcPkNfui50virxwAbGY+2Tz7aC1OWzxxDZXl2SO2tXIb9IERMmViaOde/s72PLgmrmlWZIPrB2e+cRqBz/Dn2DpjSGyBXBE1ufrV4pMFfwhGi+EKfh9FO6YRKeYdp1kiiweM+M0QN0AUzt0vtCGWgFhg252kc5gFp1XWTVCAXkQ100ZC+P9DS79o3Abj4E2IryauLWh+SZggNB+hrtQkMxD8EWECWdF5Dc2h/p2tGIhpRbHNK6JDkUlu+tLLt//W6l6yhZXyNjbPfj4+xMf0ksNhM7QnwzcB0HJ38JeadGjnSxpq2CmyEfbjOeqLPScDB4qlmyjdbvGeO2yujS7nS5IB6xAdG0QOgngdno/g7Vb00UT2vGtb3pKj4u6Qk1zT3n5QWvOsXmpMcL6oDoUrK9EuTX2OyhpRgcswzLMNnJr9tzBchrZZvBcjWSDqT6NpjS0iZqEvl5YEFB/40n3BG2B9SDFK5LazGXXIYSbiUcmPqBzS7in7zRp1jrHosgGYanETwN5vbXIucVsLuydAAD0YxXtb6bkGfQh64JLc0snpCsT1/L64KOWPl2Qpc9ZDQmC6saVbRZ92wgmDRdZcWUBH/iYKSMbF+OIszoZ/s2FJeNu4YG9/0/I+H5X8drmRz59Uoc1ReQn1Afu6GP6DbKSB/aQpN2qwkIdmQhI7iJkw6VaAeuAH5t4b+SM+HhvOWIee/ZGEuzRNI+HQXmRF9lXoeZQGmCCt5nKl8ZVJ7R+HDbU2rgFC2JFEp2G4LkGS3E8hZ0PpzrOefhI1I7C02gP9na6617IwXYsuU1qpm4REeUQIVM9iMEyiAQXuq3y003hCbZIeGEKoxtbiOgSKEHUymt+fyLjdUMy/0nVmowv7tSEcyjRjhNtHyMxwGOfTNJhovJhGlyNxiEDQWHq3vpVwfdWMzXJyq2ahJGAQI9ELOJRRME4m0XCqDhYVyHdb7EQQndvGilDnHmYuRWaCcWMjgG2CW1EZiqZulofOR8ORLMNeLvfQOP1Q2NN6HNnMLmv7Dq3nyi2Q5vi/hrjvrX1ohryUeylCziq/RAID5AZWD83P0YnuCPr1jgv7SijqnqB95xpBh5QNsQLV/VtgQ0xujpdOU9jQx0CRDGNto7roGZms62yZiVzQeEX44nFecohtkscHlHsymwK28lhYwyQYbJ09CGBQD4woXj9mitHS1R8V1yPVZU7GaKhZzDD0a0p2WpVvJIKhOVkxoNKavfnmhEwC//awSu5sLB1IxTaq0Kk5hNV6KDC1pFTfcrvUdYMv4K027M50UrPtsj+hwXWYGDUX0E0wlGwDL5HqQwnDCBE4OdiGFy6eciOEMZRTHOSsV/rBAUdWmQP8OLLOHPnsawIjsra27yg85tlkLitkGjfO2g0hz938EYm3/GBT7In1ktmkTyFzpQfUBHIxh/U+8NW7vdzXJPgQ+vlEq2UvhufGoMDtTB4a/+u/dHeMP4BNloymh1l7dUg2SrdiEd5mFpTwGBChU61ByDPQMB2WwcMVk483G6Hm8+ozT7xxS5ga9dsjZei5didfxQxoeRDmqHpoB9mhSaXsYBDGsUdYI7HkgV0lOELXlsTQ3RHxeGaMINM4F1G7RH0epGz5a73HZG47l9mHPhTknr5R4K64t3U02b/Bqekw3BI5hdUJ7Vaf1NTPJBeW/5ZP3WkXETtPJ/mh24yrQ0jE20ongLJPjxNr7z7AyyIDjHALGwyhmtM/1rHZKz+9BDWm+Z1/zy7v96OwCABQKymNHvonBGespAsjn7+DWl9n2mY6soEwDl/VBb1hDN9U2is8/400I+Dw5VbaTIbG8gqEQ9JrELp4vtsOShP253qCPCjdur2Bn+L3j4OFYRBrTU7bfxC6IL7CpKyxD68e3VxJJW0f/r4BNXktInZzYo4oZISH47XVBFWpqs7FbVPfNMnjncIRhEnCBcEW+hJfHd75L96x+EkLh9cJbNcitp8hxOXRGqOanp/AJ9zGsNijzNMwsVhJyKOV1sBSFRpU6zwsMHAX83LwSTHcApZY8PqhWfRkMcZceBmlGNK0A4MrpZQxdxGJLh1wpLXEwppUJ+/p8yi0OQrTbqW1rSMdd0/E7CNiOTaGer3/aUmX9/BTo9QmpQkJWSrjtFUyR++B064Jxe4e5p9yOLFYJKgA7lRw9H0G4+rtUdW359veu4g8zCf/+JeraRtNhwRbNH93xFsNZm6CM5hSxv9BFvig1xpm25lXMna3DAndCKnFotW7f9pJeiVWPplGKVZyW7Q3q9TqeAbXTUPCMzfpYx+PqiDM5zz327Wf1EKiK3Wtku2ob4QtFMgGHtZbdeN3w7vxq9Ac4mUKHeeGbzLdrh+vjADN868WTgz6Ct/Za1IoK2idIikk3z0XMv8niA0F1uNIhLtB53waT9+lbuBEyAqnt9iMS8oiRKGhZP/TLsXK44febhGpuh49qksZz/CXSQZ/YkHsG261nDwvkVcgIAbfo5lfZZelrzO3fsNAeMxdBRBmV9zVmL4fkvNdux39VYWMHk7GqTA1l9xPoMSAYiGLdsaewEnuJOsqB6Abm8UC282ufEbm6uO8wiE1/eFDWHadV288Wa+sHfGCGhifRvXO9MDkFG2QAVUzXdQFKOUxL6/TTd/tpikroiCgv9EHa3Mio2bBVPSnInF5hBOI+4dbvprT7crCeonRy4cDdFHO2ruBYtL6rZDcUl7rh0+jsZ/h1rXV5tBzppXWwC3+QNS7YQbOsdXqajGq8zSwOhd4HMOUcdYT0bMeTOwrdmbPReRhpHlfh3uOeOmRUh5QLhBPH+Kxkpy50rPXvn1t6XrBUhJ3ekHagLxuuPXfUbRx/aYCukMjDAKMY8bRzT3K0WN8bp9wLe3McmZf7bJBsBXr4c/smDAX+ARKzUsA3KnHmg0K4JKyQRRfMm75rnXYaYhZjLN5Vftn70l4Wv+uYpAzZr9CsKvOr0g3fduveqCMst6wt1kL0i3byIuapfkfZUA+oqd6nH5F6ZrJG3/STwl9l5wNFqbPdnzA7AczQH6jzs28pNectycj0xKylpYNfWeGjV2fgkqVl/Cc7AQcrAmsT5uNp0J+QOYY343M18TDL3PAqHJQiGw1/b6C03VGMy+/IjxAoEKipVlfF4EdU95mVu9Le1RaBkLGmYCChnv5NScdWO7g3sCbd1BKAXsPCpTVDiLsYrc5BhzTPfqORu1hpxMr4th3a4XqYEvNWgJ92M/RujktebtzUw2GFjbZdyrMJWEvXWtVd0PlksR9c5g6lhqw8ZuWKqIHarrhUn5GVR90cVS7z6uX7ohfFjsmLkCOgiZemuY+sOdwV0IH+yucyM6Ui6TIZ6IuVJmlXoNSWJa74Nr0REc31KA9gKqvic83pWkPLTGTq/bSi9Xqslb/QD+Q6riJoq8UWwmWeEjEaRX7cgnKKf68HxeWbKX3mMRLxrBUNzZMa7g8X02wEZBgGQjIQS4gTVgn0xFfspe59kPbxemR8cr+ly6VSa72fOp6KCMqDcyo1SQsrMEUYA+SKXVp/vmpKipccU0DFiuOF7SYTbmConxz+VE0uhHEwgCHU0a6S5R4tGkS64gkmZ+Q7Euh4lWdUf0kCsrXcmP8brWAJiGzKHXS3D1Ki3xIW5E4+hfNZVhHKpAYeTE8JzbhY5TJ3W82QZJIGQBT4r60CYcnwamXTY/pRN46qlUccmq2xwllPgeFIEFRQIqwueH98zgTzbdKAWVmeY6FPxHwfWwEH6mTtGAX3WTMX6Kh7xa6D/tULI7w+4xSL3aFQGfTNG+7VXxXaJI6PpgEGP6L3vBqn0Fr5OlNCfr0/MYwZ0Bqn4GckDlOAd40sV5SWZ0XiwOH9MedOw3fPZt3KylC6wQPSd1y835VZD1+th+FjIzjYWXErwuGTIrO8vgugB71d2jpABcairU8g3e3IwbPz0fEY+ZON3EVLFsdrG7sw4Zlfm31yocwDr/8M9KnL42hrk6pGtQ+VFyZLN7OyHDSs1O/wVC7fy5Z+g423FZBECiVfUBiy/AML6yC0HipTh+UM/yqIIIeNV8GFkRgj8H5bBEGR47U8jZ+dpllzniXDs/evqcxOP/t/UW7uhE2WmVm7Ve2zlepEV0DKEF+CVfv0X9jy+ePxUMpd81rq+YFeUs0S7izRizOJyf22V2ouu6r0AOW69DXhe/tY2STGq4ZUmk8r5DYxzIo0DCOog3SRVU1mOYXlr6Pni/hqNRdK0CZjOrfztMI3AFxafNcI16JzmG/xnO6VoDGimRBKVeYVNICAApihcHOV6HoevXNTjgz+eq248dR8Z49DeMxf5uTpdVWMgrtnQrmf0k4Dkviy2+ySNrA3DZVbY7S9qrEd9EHQz4bSsJ2Sc2nqADC2Rj4Fcb9R7lcVBLR+3edksmHRUCYa47LqFM2MYuyULmEpHtq2bHd7OoNcvrxfNyYUizV4AGBnhTEkE70lvGkSJulRS9F9YURSeUbL+eOOjxz3QqC9MX2ZDdbZFH4gpr3Xl8X9OjVPnsiw1sQRsInyodN7ntVMWZ/uoJKV/dLAd8e4kZatnDvtArgn/xAa8cwm7zz8XDS5t8nzcV9la5q31Mx0N4fLk0s46Cj/zWtNGt3HU42cBKkOzMBCFTmkEDK4S9j4gVY3kmj+hZ+hmrSXSW3H/Octvy/tiULgyAJo8bfgEb2KpgLctSIsqXuPjDd/rb4UBdst9JHS0AA7Duo9WwffmRkREHqOURxD7sI/40Cpcgg6XgMx9P2aex7JMrwadDdqOJEM0wZoinhKKY59WCkZ7dFq06DV8zxizFOWV4XOdX1tpYutD2D6ZU3zvhCZnqc9O2yeG/CDL+x55AyYr65CkdYZIFxarbyCcS+PW3SDe3HPTG7yV3iH6JzlVJfbGCjEbo//ppHzEha9cXnC2AqN2ZMQ/1N0oEhbMmnRO450aSj+SLL1cfk8ncEu9/YZqx0T2r/3Ua5W92/BHZDrIrc1rD1tx3Ya3DIZ+mIGe59boa3SaFc1Uk10paJeugyhka4QMHRGxjfjqLcxkN4PhXtoQh+/F7vVZbJpk6y8qT01SHCpzaZjkWxfziqMqyyajb4waIXAbsytSytai7UtnGekGMGOXnfN1+/lDm/7AJYeMyK3TmDZsNElJJqQTnAgrQKsL1Ji3ivOamLKXtOtaytFvFJswAXXhoa2IYJl6Pa7a6IKdoAFx2IyXXYzRWVAtawzU6wt6/lBylEvlqnils43EMCRuyyckfubL/5/hjvkDckDWJ5kAFKNL5reIE8rjpw/LtR5abtg+Q8vZrdt3KvasHkPfVNUoO0NL2U0jxwjrkeU8+Stih3LQaJwlQ2WoGEXHVbQJIExAdUWlQ8bhfuChzC3d0UuBQC5Zp5KsBXf3sihqhdCd4WKZzIDtlbRiP9eTpCRAfeELZeR+HvUD25p8K+zNk+4nAFxh+acmb3er0lT/OELsfrPhfyAq1pxlCdXj1m3ijGcn2U7x4sHJbTj31T1/Kss2cKyq7CGWC2pwLhaMGUahHFXdN+J4BWSXHroia6ZqT8c9RuzZROA0gpoFGGPB+b2Qp08HGuPruxSmuEVcGee5JXtYszQBxuGruLLl41srcIdacIaAS+I0LYL1KEMoSTxcd2/NSbs6KB0A3D38cPWi+JnBq3jax3m4mfL8qX0jT1+dW+ROMtSROp29NutYbNvZr3zsKkAdeT4iRjRGtp+rnzPCDpjixVNO2Zn3fYPBrMCKhQmyDCY3s4AkRjPL85A3fqQHBhwT0QP5zBbYmv/7Qnb9DeMfO1WPsIlK1sqg8fsmWhGyh/Kn6WpCgNu548mvKC7HxvhgHI/q8IeGVx/x+bu3GYp2gChXnUoTqfK/o2FOagrWpMw8pMwWv4xHjdwzAClPeL0/LcHekR3f/Od/56p3jttD45vnZTlRdRxih4tXZ4aeADU22hP181gV9b/xSYKFx2XFta0O80Tc+/yY+s+VBwhU5eba/8PrpXJvPSdPSd5BCxU+Tr1Qmaf7czvtwksAPYNj5fykgWVFa9jD22/Ug0oBofmZUtHvoelvnN1ujLeiNga472gtqZDnJZntPFAQ1q2EZZ6/NWMYiqCtSPBXfqcXKTt8/vT6XMf6Q9MSPSuenCZhwk9UB9LbFsFwXBsyMu5KpgkKX64Yv3DyK2oszZgxOS2UnYw8OIINolY388O+vvG33QDhf0tmLE1YUpLnR9ao0NjZH33/3aXGEQk9r0630CHPkOZ9VCF+EqN+u062EvXqvxNNuytkeMOEEeqPqSRiqpoExxizUuhjfzGDPWsg28jpAZmBwrw4rUT/xhIXUlOZGVZUvmzXYX7WFQMI5yN+tn5piWoA6KQbmDQG1dkLnSjFnzu2OycagJnCFnkTwr4LHXtJctw7HJFaiTeRoL1I1WeNEYquzct+NUj+OKUP/wZKtJoovH8N+D/Dxj6UQRAE0eO3Ryn+xeF6r6xtrvnj55I3dUlF0tE4CCyZIcPN3SFVUr7Qv500swlFhj77KpAHLfwh+dZHUZbmyJS33geKYDVr+tRYtCjM9bOhyNJ0ScDCwTQz4b5jfjlrWECiPT2A/vhNAkFvObuV2MBHALDC2FKUwoIvWkNxcfs3k3j3Id226tc0qbEhnAYT02Nj53nWVi3gq17DDQUbTTtwY6ro9Gyn6R0HwHiumUzpmi3t0vo71i/zZmI6ZmMY3cwY2NBv0q3EbA9xSHFyzwHnSeVr0F74Abh1l+YKCoTp7cwW28BaOdctjkab3Q2PI4P9AwyTkDhlSprTJIR2jxqkj5gxCt4kmduib1DlzFJDznT1iVscAKUvtNuHOFrWKER2CN/J8UcsIzL2Ch+D1ouLl2SVObkMBIZgqtsUoonib1a8TXulQWAQfR1q3XXqdK3rT6zZnbDlb9szSiWs2JwP++peaxmWsB0Ea6SedLJhZX3qCXfmZzsE9r95RN7sDX7IFuXepVfnH2vfaUUQqpGK0LkmBm1T+o4/f5XBNrHTP1SMN+Mm6eHDE+/y5WJWz7AvSJOLKns8OwReqmGs/ZDBP99PAKqiQF39zPqACnvp8uklAA9llJuf3FFIVB7epr+nDn4dCddi1C7ISRbDsolQoE5gwwa3KdCAlXTOcA73dwGo3db3Wb9FRbzqs13ugSiHKD7HRwa2RbL/dpGwYqHzah3Jc9oSeYcbKCHfkc6ccGvUT30Lsw2t5YNlEca5umEWWI+gIZy2+oe61dFTBfYycgywxnTSfHmS+ylDleYUPIQVIet1M2wcgmuKyF6jCvq7ZUwoPN3PT0997kuoRWUDlCGJ+qWdaJfK493a7zO19qIeyxW05B4r7rFnUXueTQcv2bHTwiLmDzuo+0U376AlaDq/TiC3JA5e9Sc2UWKjyeKT8FnHtI7UkUgCYfg896USye1GkOxuajZvHkyr7kCF6K+utxpR1o9CCSmrzCm+ga7JAGpvad+ilTsiHjNlg0pU90Q+Kjt+WnSA6oNipSqDiPSgJoY9tylvYSWdmi/s4ZN8Yq3LSPmc+2O8e2wQs9M6gy65ls8CabsDSJB3GcuQkzh4zA97P4CAiZezB5h6KirBiCpMJ/uu8iJO0VLq/5v+9lTlO/+SHB4vqUD2sUHcoSd3BkC2526AIl4WH9EvKfKpx84cVvWcxHmJokQ2G9/LJSY/ZNmxt+zZvMME5fYoWFCCUHou3dENB/7pV41H3IabiAmNEVPOX4Ih+xn+mIoDxRmSQQ7B3q51TyXsgmp0FD9xSZ9yK8IKI+A76KSjKxj0i8e2YcDWPwFU2t2Ot9d5bugGRhNawRIx2drNn/ezeruUqvBbJ8fLIpJyeOpQsL77qKSRgtk9wiJ3FUyvStfazwZhq18YKHIpsE8ie8rpdPHdmbA+AProjRw5FHPsUjlLF14zeCIMws0lW6IwNX74I0whHMuV9z+zGRq1cOi+ZQ5sOKQxU1SRRrxeNOvuZozpkSkvKuWG/odBwDzmGWStFZnOzJGR4Wv9D5PLyRscngXM1eHnDfijYp7iuec2M0IfUIUQh4cz8qsNhdCKjNrNoBsIykZ/75rp2/LhgV4I8buYG8XzqVl5HZcZrKSGvcexcxYhrOtnMS9sC6q9DcMbtwfpazcs3pmTUuinKUbxKOCDat5InJBVlnwGJH6lDmAsrviWtaw/eXBBhGx6mHXBTHf/CM78xWOKq5QcR6kbjze+oa15XCNRKTmTxRfI0N2yQu6NVYkHtKfDUMoDttCSzAG+0kKkEgAIVPcOU5mOao21dYBpToByt+zf4kwSAB2jBicf4EDWtbR31kUKSaNjN9vrfJUXjVfoLVJNHa+uafZc66r8iyozuJqh91MiJC5pPO6Cp2R6mR1xPGtOevF+daOlEp9IeaDx5HgdMLtuW8OoMUvUlQ/mecztrwCWPBRr63PGKbApt03Z3h9/w5ZXbZQqRPfLnCYU1BAO6HZd+aPBs/S1HnBik8PKMtWmGqRBvoaTxN2bEEAa8w3Sfw1dN3GsWg8Yuz7Op2wTTJe1WYL+b9JFAHYsTBGPC80XMrbdC8FVSaDo7ZCqybEI4nomdK6n8ozX2Zm+ooReBhpETsj9GvdM868uFW/64TkGCeQwbHZsLMPitL05G3WXsO0myfIt9aKzi34Y7QxqQX4taJur9rTm65FTPrQPmSCLyP2m9UBku7Objy11OgXBU7BAWYCDQyEcZt13++6MsTOLvg4ASFyJ+6cWThQN9jEsOtMPnDJrp6VUBg2nNLaqg70A6Yu9te7EWcRSrXTY6dh2qoSmhGeEcB6lo2dilAbWL2YwmLNLPR0Ssos+XlhdY4L8NL0Ojnrnn0e9g5MOyrbFoDPYebZflJRbIRoTN4TAq/NKMKSqoPO+oSDgnBlwVomNg8zeRwqxGSQ+8dh4LEzmFV6NRS5n5lqT6VkpaJWiJ98DAYTrGczT4Wpb15yQRX9TQrMUax/3OmHWJE9/r0a5whySijZ8F4ojly9taUPTl93PMYvncz6ctuOqpqPUD0/grpVj4eoMX0VhulD5FvBLj+HLIs3l0rAikoxCmEbptqblKnqL7xkFxs4+lV+63a/bOO16VEQVJlMcuA5T417leRDAZvFsDx53LKErSloNu2b2VRS3GJ6OT4dsnbc11cTRSKxruknv2wJXvuFobkFD8iMMux2qp57vdhlQ121tuXgCfUmZvfLzgLLlT0M+2yEGb4VK55OVRMNY7/GdaxQB2sh0ziFSQ210zyU7qzb19vGqAWgw37uIQC2/l0SOl/yKQyu9mFHWzJl6mW7jqeL8OIn18ruZn20CZgqZT76i0GJZfNBI5tQeSfh4WaSxJW6PTS0HCtTg2OuFKT5W54SukuZeISbO3UmsGQ9GlztS65iLtIGRq79YYfi9xjEyq88p5sc+yzUGckQb4ZJuHb6Bcpku1pqvxHiyYKys/sR/JkDO2gV/34Nd88RqqnlH7V2H5GDARrXUyAJPQTw3ZUksLgOlRVgao1JZq6j+wwE2EVMfxDCY6yF5sVPdwNgvA9pYBBqhBNKVtXEnuRXf5BNMr6SuDOSgQEuIkf60+QTdFDCJi5MJfgK9bD/8cr/vpPq0CjngKTnfA5wWU5CCChMJ1g/OUgP0yRPxbAasubcCfcXpjsEjA7QFAQ8pmyXzKppDJdKIowgtcgPUCImNZLtWsZhWByPIvIVPeZ5qCLqTocARmKVulgYxCwB6Fa2FZd3uGui8eeqNPjcE8ch3FTJ/K4OoGCrXE2sq6gNIdTGCTE7rmzruSPmhcBYI09XoVumG3YaU2wFW93apcpQWFpkHxSWyjaeWpgVCoopNP1J3vxgOx1ET1MaoOPJ5ZWDMrSJaCMP6T4oBzn8KbQeifyj6QgmV1kKiT0Ov+WhZ/wsNhNCZPXtYxDzulWvDSE0htoHN9hqR4HetHxeQpOl+CK243wZcQQXbPXk660uJCD2H+TiC6l9FOxCuhNuQWpG85HIItMUci7WxvBbbV0S/C6H01jHIQx+czKqvRIekqLB+uLOa9TdGJ1CUDjcZGSmCYXz+iUyWfuS6VQ106BX5di0dFrO7cBIu5GcamnQzbFfpgXScVE20/ZO8khwo/BgZXNw5YxHRfi5jd4CHh9AI5fNYrvgIY/v05yR8b3YOTVnnMcEeeS8u+AKR+N1YIl16riaqM645OHdZ7ye5SEBd/w+wiLcQ3dDdkKoaTic9xmwC21qidZWFGEFjkr51nHl6JckdHUEOHKUYdOktshdi6RJznTXA4JgjqgPLJSn3OQaf0sz/5uysnykc3EZWevv/5JO+lNJ5ezKwJwdO39FnJiDUM8qq9/5uKSU47RRQy3Yho3QGDiN995AmzXWfQ6NHOp6iCfMaOGKo/i2mRW9dqNJBbFLZEGgTeC2Agt77QdWEOuK91y49lKNMCN506+F+1K1Gsp6fF4sPq26BsJaVPvAd7nWANydW5cu8kfCjcUmVD/2pWncvcQCa5syJJCDuc1F26emiXDGxkcqt11QTAW49BxG2d5q3DpTVbYqPD96+sqBXDY7Y1XhOjPzCJqhnJIUYvGwtzClRP57FkhbLWI3id/kFVjzK0Z7YfMJXTE1rAa9LqElmS0kiTHWPTRjFmxHvnTHFJ7hNEqtumJ9DWFpkXFYkvOgNSGVzBHw9y6Lj0VU8eC9QFoxNyVYWmg/59Shzq0BG4Uq+5eb8AUIoMqvAD2DK/AL8ZJDhTsi0tYcbRHp/boNGKwLXVJtXtjy2tKiZvOINcBnBpGqrDqjlkPz2kHsMmjB9uKwoAzJKiCnXV8lajFPCPIps5xH1p6Uv7giIJC+I1Pmk08yujvVhibTlBMFp+00t7dIMtubHaT7EqjBMpoVH5wd+yCFK0/UZIQb5QE+V3Gbbv0IFNT1gMJpiYOcqh0D8Z48I5pRrxizhIJycQuEUGQZJhaJFHF+Ie7CEVe3FzUevBYJ9qNQKtp8lqp/qNMEiSN50dQqvhinxgcHCL8eiV8oVpnDdJ/JNqp//CrCPLJdZ1JGANq2MPndpTArNduqH2yoqAH0Qc7IKqi9KkJbMe6mJYcCVfp/qVx0ZzxlkmeVzFD6hiIo3U/hK05B7+bcO9hh3C3v/Y8JDwqXEjh1VyxEKvGjcbPIEoD2ogp4NOqpAFb7Q8rmf1o88/eui8IW4s8wxWf/m4fh5dg2uxrTYJTD2lMJAAmIJBEkKDtr3dITeF2c8zsHYSAg7xdw1qzbPF/E8kCEtcH6FtyEC/1Ptq5VmIuFc5wY6EWLqW3iEDKn4ihM0sIrXhG/mP7Bp5hpJPRj4R3E5MsMdjvJJz/NJCLR/LeYmUYmkhn1sx0bYZiBOh8HV9eznxUcvowcQJsoGZEQFjpLP3lGBHrfJ6mtKydplq0YMsvZiNko9/M9fLChonUuXVCtMoYreIYpWw9qpmj0gDd4oqmvf5WYIQr3nHirC0KEAbXWTk6gHS+qfvlal0Jmqbt8GxNIpEw+SGjuo7dhzlFnmye31H37oMnql1Fc7UrbNJVbNqhLFGFi2SzirP22GCaGanvCUa5PhUt4/LpgqTS7FQhV6gqUtM5UG78vD19B6gyJHUnWuYN9ShdxJ8YorULPCN6JUOOtACGwEMlDPwL9fn75Pb83xJMvEWnjixQUhIH5Vcamc5Ptun9Uw7+R4JN3Yi/GSRQI/lc05fGnc5zAQJKOIqK38KUtBTKtFNjdu4/olF+kN4ZI5pUIHvAggSCNZgyFNe+cIuSVOQEpLbfUFLzvm4ZV9YVIU6PTaeciL3FObyQHTpBo0d1abzKBTWFD9EPcHTTW0y/p6OAbNtJ2k5wmSB59IMtallNCDVpCKFdGjoyhBDjoimWA0ycxEl946OPiOmfZVc5JmkNKUaPSg/gq+MvrXJNik2QYkMCEsoYpwWx05ddcmfXL5euj9MRzsJGsPD+UPQc9MXBSWtO+uIAql+U15ry/VP4tQgb7VU5FOgiIJsO3vYiwIAYvx/hgesJV48toc5D/yr90U25RLE/k0oCMVoFTubPOao58kPVrID5FOnpOpyLGR0crrsRij9pLUireP7hl6aI9KHf1mSmsQtY5i9rNgwskJ09F4ILiiWq0N+towhYQno3l6LNzBJKKcWPfzkhmaGbm9GMsRFsmmutGbnwwiyM5TCqktWYxyuxeVL3T0l5pQ/3ECkc9OEbNzkBO8QWb7kvu6fNz3Vr0lOrzr+Ghwt1CpsGeKedH4DDrV8GhXR6qfZptIn5k7uC8/E9XtznmwdSfXqeDcfhXoQ/FCrrNFyXIIDkB+o9G3gn3ElixKJA5PyKiwVRRqYVPh17uDFVXc7Ls3jAEkKSzJ/fQf7vofPD/RcQhDGYy4aACGlAr/l5faXZmmczLhZiMGatXZKEsWO9WTl/22anT1wnmBmkaf2pfsuGdAX4b5Lgp9+CeGZHDSPgzdUGDhA3V5EhIl2S5li1jGb2FEW4T/tkWi/AGr68b1zLt3pNjLu6snc9B5s4HT9WLoQlsZoiWcOWdQAk57N+zeouT+n8EnfXuVCyS4nso3RnQknTCXDdrq8gtPocaY+qRh1sKdRXWbDM2ho1DlbNpYDn9/MH1ZSn7tNUIxspvkmuJBJQt+yjreUZ27W8MbNw/DOWFf0IH9CxdAtvSp76ETtjJaAM/oxrkyrx4nAvQMMgH+FSqFVs+OEBJ81AcGM/NCTbUcJyW/pFpeW5/7akTJu7Dv6PW8m33Z7dnMcxHn5FTUTRCcZt2mu9xA8zXwzLP7pAgw1/diJpSe3tgzbj8QCbf61jFskDtMTVJDtbPMr2W+nkdOsJzbJ8SJSB4n3SSoXFDAfr8mO5VT1sME6HuciS2oDRfAO1bk25JgiKI+eB66FccuAoTst9CLYendXHlvusi54y+HRXwx7rNL7+rJAWsiF/FWcgM8yeA8RnIocZWnKu41rnexkIraZZjLJ4hVYdThPIvjq5y4yh71/iPJ1h9arCuN5yhDeGfkWLzxb5sd/JiVtZI2zsuEjP7HnSNKDJKzaQQuIcXBO6ymIzqFUj3jaE/Ou5R32d7wc4Gp4lN1jywi/HlfokvGq07Gn9GQQ8uOqO338xal6DNHuNjDNRhoY/Q9Ef0ntdURutFTDZrELenl+/RoaDkBxTuyqmwzehbi37NEKhCyUho0opH+2ryZYsl93MxnzcQCJg1E5qKhHkw5jplCOH8RfhJmy4uHdJjPHUv5u3kY9BbCgpLAWzaKszKjxHlH9taNhsa40YwNEuaOPagFEx+3Ko8R6gvMXhk5UOJJu7c88IvEwpGK9DbovtiklOYqgBr8sjKma4Gr5HsptJJR3rJxuneEVvmGSsalfmU83QPtC/GmHmf6Or/PHWQdtaFZz9KqRMb45yUaXjVlFeE3+ndwFUBShJhzPoUpYMVRBs6MZLih2+3opY43J77xGAY/hNz5eMCGMzxn0qd7HnzUEG6gaoy3MxYnzKDVOGS4io3qr8ZwrrD1bdOyu+BSBEuJ3uhLiGH86tVFd/9e/ukWyxLbvZnLygv/T59Att++jL2K3nofTaNd/GMwrnoc07eJ6r7KT1fmkG0CnepIXigP1k3mYzKJw9W3xaGGFMNVa24Kdf0SnV0zV2AQIW5VY1jcvHTZjnxDwaa5+jpEsWSbtchv263qURZnO3eGCA7Yik6357vMxMd5TxV0EY8BPhEpKl6aDhZVKe/xlqNGdOhQSJogteBfvFkp5LhUVALrgZw1ILwha8v5w/V43ngvC0I024IUnyTIeupIortxcjn2WG252N9QlnSZZWL6qMT4VoQvuvWicpKp5CzVqq2yENYsaqaxbChLtwmeM6lg0feGgEdfqCWKhsppzhOHuqWFBDp1B7/f6ygdRe5QrR2kDshtrmk2tf74Y0xLAt7fA5HzxRKH0eOs+U4sY/uiW1AxEvvlOUP8KS3ZoEMx0rXToREPG37iJ6wuMU0+zV0xMhNfVFdhVaYPFeBLG3/VtGu0Kc+5WUHuqkKtfKEky0ROWxzG/kk8dwc+rkQ5norkSKUkppZAPuRPfevXc/7yZ68BiBxcbUPKIfFxudWfxJzu3sth50izxRDVJfI/rgb+HH6z0TpYhpU06woZ8wDZimYav/3/mwTuyb1OohpFymedUWHN9ztazeUgwQMoB6aNdotQbUCcqZkTGd3RL50S2yH28nUN83lDy5TjC3qFcH9u+gG3HwQWRjSM8YK9UzusoCjV0KXJSlj0LQtpDrcwqtygIK9/PtTkGrrsdjHILsCc13pl3k9VRUH3AyAM3xhGKU1d782ej6Dg0s3JC+o6KQK6MUDSMcqi2srhlgG/2/f+Zo7dTDGeSJ299EvDpa28JoRYP06O+7cTyDiK3qMlWM1Y3u404CaCQ9/IE0OZ78bJYDxtb0hTmyabJ05MRB8CNuYiZbZnJlZQsprdi1p1+qVgnO0+jpOcttA+LVodorg1hBPsGDYGAZvKMqZULOmolsOpA4aVnEKfEwhswisYfztEZFL4g8UFvEmDXZG6tzgNDerQVVUkcjjqeXKVXx+hI0qjKTmNVhYTLIYA5DJsP9JTz+yyWEty2KzYfP+8y19GXsvWhXliFUMNlq+RpF3bJOMAUKQ1DgTTPRmYaEUFEOp4Dzy8NkWQA+Nqh2MlqMHCZqNIZl0RN2d+0otTPa3AUsdujSgvNl3BaNDPuohEHjjghrxIMDt+AeqhZQthWCOp/wKO+t7RMElagwfAczqQpthqYkfTyV/xmQkqFEcw7SNMn3ApctJQzCJVh+sb00Y1Z2tDIgYdgZEnuzRMVgBr4JaELCPQIcRrfAhpF6UsKHEaaiftZuGW8x/LTyLSBJeUhPU2OmKwnWjbUhG4k50s+bqiGWT5RGegV16e1KbR6n6bmW4qWNT+ts9AuWv7pVy+GMnt1OCg8TolP4pVNmvE7/0WdjRHwrsL1V3XESqUlYHJ6HjAdLq6PnxkKnmTUrv99CSzHNu/DTa1NHQLfaGCR+iMarCdrA9z0YVC7xTLA49TKTZt3Bunjz5GRD6m+KB8J6IwPogSS5QjRKtNZBMHsKm0R387lSIVUGaQ22txga6vR5TaL6Ysk0V2jcnCcTzNYn2E+3ekMHC1BmX0UtqfF6fi2Owj6TreLjxF7xIBW2YT7U3PG8/I2hwQqhkCRbDxyOOr/dR3LvH3cpTvxfHOC02lItvEY3jri34d9ktkvt0MRfNK5WPOs9qKS/FI3QXr0mWnxSDVGmxEuUmtJvjywl/1jtiM5cPXwM0vewuVdtykxVRbojOA3WDLKb1bN1InlmrcoLoAIKIvw3AWAfzD4UkqNHZhEr8893cFM3EWqIFSVTE21V32+r7280sQGKuATSt3g73s8rMy/mTKfRa27VwoA1Z4Vh1Mbscd3YDbz3Z81qrE8k1EJbwEWHhH5gX+xD2IJwDZOUz5Xr0Fxv7YjvYMyJaWAyS7CwBv/Hh0K6eOlv6th8gT+QdaZ8hJZ7Q/lgTMOxkKuvW2dedrZz9g1Rg05FhvNHjtozujRBLp1y7D5H7pz6RRTLkQZ2nVd0NiLvzwcjMCHpYlKEFO57VaE6rXCWCFo/+pd9lSlqF0jy2FpAxs3ywvmw/h+2y8Yd58R8BUCj+Z9QMlXGnI8Aj49eVMdzvjpgI73y8TEvPZf3VqANUfuyZJT947Ecajxe03kDmO4HUKMr9Kj1aK5hQtskEnnFp/lWcL891RIDb5vt//8zYCwe6euQA4X7nIVsF7U0QQvkryF9cNBWgy9sZtUpJIKEHvuJE31VHoaeubmg5fY4fcfEz/AMF7bTbXyJWorMgqcKfwCil1gTQ7UIN8J25CFpVprzpwzIYENm+qSjcBugVPRtWGh+gv6TioedEirxMTsuC8a2lojBGDZR82wjM09IeeR7gv/UNRNM5sqm+Tr+U4EDY+Gkm5zaf5eLKgKn1dpq2ojoCtnuUbUFkXrNuFBC8em/u1CkUTVRwXA/LIwi3i48+C6DHv00kppVVuVb85F45q23x4yp5lYpjn0/0LiVD/MF+BOFujVAFemOMDYwGS2h1bKuP3Jmg2Dt1u8DJJCxqrYJucgVDgknWTMaHO7l9mT4W3xUazyUynrZGCdGouoFbml/kKpA3AsQZirNBHzQomkeNtd7cDuLOjLTDj90sD7TmDRFQAHYv7k8qcV39OgzOKqBIq+4DEFW8Nbhs85KGBso8HJZmrWvgtuLMSghWgZ6SyhBMf+N6Fv/uismN8Q1RWSXlrgo7mJF/sOslelqwkrmBxLoReQ28m9UJIpIx7Dd4m1DIV4eKwE5ZfLq7+DVjxteIT9GiPrmaAe5Nm/17nuylg7w2UL54YyIGiXYXu/ccZ4VhE1+3vEF2JMwT8M+1T7KnUcvoi60dbi0VuSLtqmLm60c2Deve+BRy6CwiR7hAkFVYV5xHUE7E+2l+qHRF+BZ5V5kpzcmujloti7B52ZwlwCJr5av0xXIiH7yOHimiKAo8RjhHWklmRLYx/4MEOXWuqOlxD5gLdQwf2FBmX9zAdplR3r8J8vdoe6n9gMgrcy81rcO6xYOY9s66949zLN4lvbs+c5BQfA2qRAUwdzebm0SHE12Pw7DhG1CvBoN8CeAv87Byg+UC3TLlMScMqnBlo10kSYQnXEbtW+vymMvTvOvFThrafWVCJ4Syq9/yg6TUNvBFz+1V6Bgt9lGgv9Pk9jFgoMKBoJQQ/fnW8xCGqHl5TQlFgVZtl/8Cj2Cj7zD9KzwtFZOF914LuGGBflm7BUEGTVeWnYUZ998OEGnoN1VePOvknFFLQnwbXqCYc6XBboimuO8SevOrTVEVssq1C6jsCPhg7/fLoinfxh8QMANyHmP/7u0YfaYxv6wR91yLHo33FiaTak/y5ga7PTAtzKCNUiX+mM3OGnwTl1U8uZBC9RfcakRtmHIcRkUxapE5A1XQin1HgNJ1X/8II3RPG+8nRJW3VbzEMP3rc77TNtIU+eOSsxov3HW/vJI0oC84+ewdUVhprZ1yow9tytg8WrYwaFtPovCU1N0xnbSVYwa7AMpMlQWP9XQC0ya014zae+wXhjRirLIbLA67EZi4zheqXHJJSRB4rJuZ1FtCgAJGYrCU5V5DUl3qi25sFAWdPyrgVPvu9bxcCWg1Flf0G5Dn8YiRvDAExx6du9PwjGKHeoZvvMJfpWsVgtqk7RrOJ//Dct6QWDSoTQSY5dazJyENx9gEj9Cvj0dxUzQBsbzZ7EQuXdYLladaKpVUMfvT+3ECvjQ1qszYzvHfJoqHH/utpXVqHWOyXFmgHC7XZVM357kD1b8EL4570qBHh++gGmsFfqpsPlaPwI9e49B1WTBRoCO6xIllCyT4IPyy5Hl5grCPmkDXVA13sd9JmAl2FdLj0juyB96SufzSMzwDIx3PDybaw+WRlHxKFOBQEkfMILxGRQFhkiOf5VVu7NeSSIwp3hg8q1UXFf9bKakhNbAEx6GLTLVpTdeiLpyt6K1lD0NIKCOblRX9lR2hyW4Xru363TkxLx8bgFlGAcqFpiLHn1UO2ITp0/TM7p5eKvrBDCECQim8PDU289l5z8ru2NCfmAdlfoS2Bc6hWYgEG7w1KOCXcq685Ua60zqI0JW/c4fnzz4wY3i6sBT63KPh59RT7YnQiRTdU6WkiZSNolcAXKgVZBew1LI84WhZlQFVb5tQtXKksi5gP6oPGocwJwueEIz1w3qcjO5PB+bHA5mTpu9GOJPC0qmqDQ8xivtwANtFRhANhhLgF4au4SthUHEJGC4vR3MYdQnagoHigz6g4H9GMQZ7m7LE320lBNWhex7khMhTKw1ebfWJJcBnjYrV/M24GlMTzC6p1tyIU4TZspKYv2iCfh0sl3eSlZtpSuPsUnXbfb9SZ90nMsDQdhvwc4x6FRx+HpGq45MNQmLYRkfsIvgKQebplxqbsiJ0bDZva1AXGHIRtP/8r581q2EMMbnqKe1pA7dDrg+3HqYSZrbzWvk4MKFmVHawVkBBy6hPadbwZcahhST9yrVZcPVrqM1fCAx1mmqLXs9g05wENCDhEPzRzEnD+gZ8d0ZoVeDiiv/5+dtXEzvYo9lNs77YbiSYJCh+8SxfuqzgjTOQKCPCjTp52jk2XEPdZ6feYOqIJ/PqqZnNDdqQBw7iRvVAWb1Km1ny0eGta0Un8SebONsp68EutCh6MobuTfGrIdbHvcPFUAAj20QX+vW6IZ8yceBCVUYNgeY1D1j/R51A/P2BWK4FrITyYDysgO/fesBaggrm5DC8tn39c7TvvKDLL182wOkjfd3ysYqDthacj3hTlOfoKIyBTh1PELHAvFD+tGqX0YAjsYA7IHD2Mu+RFtKZSNKkvt/LrNNIBs7PA+kE2ZAJhE1wH3AIvGNUEdjkKkVFvAVgFdnV9+QpuBVsMsxYSy+3Bx+tJMk+iopSpd33FHBRO6LsmXpuP6eguW5JpKNRjnB4KN0bzCeLo4K0qDCtrJLTws/2a+GtPa+4hHtuVdZiDBB7XOBRbAAOuQKdgtVTLbEw2gsKycUyetfmfkzdgcGJgRC3IEjHRoeXqDxczO4fM8Th67Sw3/Wi8y7uaatPkG5vyCQNfzH6+tT+5za1z3c34dQcRm4bq8xjK1Qa7BwDkIQJ96aZdIb/EtAVBPnnhLsbQPehz8ZE15I5lIWkqVeIaZtL/flYsJRjNk8BcalenjEem+pCcAM7pg9JkaggEGV+X67c2IPHo1BKS8Y6awzl6nUTmgeBCwGBj/PaCY1Icnhwt+t0PKidXfgM4uE1wmj3edqp6uqxDYRovTEEQ6hGn/i2+/pKdY47lpPcTHOB+0OA2aVPhKvXsYUFyIqgAQAJAcx9xnYeArsPhhbPRjmaHNVDX3oiwAKONIRYjHAO4UnPdfHeAVOcY8Ln1gglhy731+9MXweS23jVM3tQvBpUlcIWDgCcpwKccVvq+o9Yl2daY4sIq314O1+TDiLjWdLi8O4NmITjmMnNlmx1H8n0uQjm6VRpBG9bh0Lrn7tFA/3eMMtY8q8Pw26eYrQN1HenKBUZYWEWIZEDMyrmbwpzEYSCZfXc1gJXgzCbvnTak5m+0NFfo8A0vIB8LTCxthzqBTEH116+7Nz8CzS0IeHjBbtekumhUJkNayMrH5pL0Gb1f7gtnINeQS7+75Xjpw7yU4C8xcx0xfy0Q4pDtEctS0rft57MoqYLvYVY7W+ngjsX4RnQVkRGVvC+OHbts0dZJAkhvjvzKNTeg9zo4iaaRwv2xK+RIcuDiJkfqPDigQwaEp/xlbJFDtLtmEh8cQRjM1dT8wYaQ0lec7qGQ1LPV1dHEf/OiJju8ausPwVIhX953hlndyOFC1BfLKQq/hCoVpl2jybKQ7d9btjv/tPzarCGu63u7yIMEjFTj/2bNwwB+yk9neEwZXGkexy/zv97147pDHPCGvJIwz4z8CxWsuiyCatsPZM9cp8B6jUDsRMXVtgC+6TzXlC8/RoL49ptlFxI/q7yqg+XlcztbhCsh1FDM6ZLANDFqlfLV9KLrpSo4C0bOhZzHVqI8k2yX5Atg/I+PnJnaYzqAmG6OLQe6WVbVFhNFmHx3uPAcIu0d5wjn6FBIFuvGn+Hf/QAFCMEx/t5O6csEc2ckVX+cf0oh1oM0hWNawUWvLA6chIRmFnwgrva+pAn7KelO+EMeJH0UiG4kGAd6JuqlcyrB+aNQFmOfecDy4fBUaJPNhBqMwZswoVXQNcFeZMJlIfR5vm4SFPbSMLyt0kR42UWyxVmuda+HXxhkU7C+kil5rPvstESRrv5KyCIYpYJd6V0crrI6AEXCT2r8O45os9yf6XMOyQXfTBfDQQjk7fCFMOdBH9pjsbxeKvnGBupm9Y0rFcz948qzvHNieKqVanGuCKrXf/8JOErIKgJ6fx/LOxWtggpNaIl2eoAqjAckRALdehLnxPHZauFrUgzPtGtf8GyK+VudSFh1BNI54+ShSSEj2U52qsNb+kPN+2a29dHDdfgFVxNbuikThT7+EV9zg0cwbvWqV0B7RvdxvodA1/PrKmQviOe5yjQxN6MQ4kIdL8/xabtUd8GuWF1fnofbN7w4fVBMOf2dFnoTbQTq9zRgLAsxwY/b/2BTHuOlXCqV7TSwu0aXYOf0Iiz6Qpc2GQFMZKToC96i2ZFZxB83CTAdB5egNdTIGUmLRy/2lAvvhhK05qECQpxpI3Prt+szmPWj6FyYGYl8ZGGYaW/8Qis0maQUhXQ5XhFXjiiERHme8Qnu613TO2LjmRLTr4dJXOjOz3s4g8IipfvBfvIm3M6ZnFiZno3sqtZ3/9qqglro/DUovao+VZmX9zfy/C56e3qkGzzvAFBxrqTSdYhBCl9Bav6PrMbB0xPdDdkdfvNvVn2Jq5Vx8/tovFmWkOrE3bLzVtz5GToE6VVek/UeN24aFBUB6feXDfHISdauUBjsqh/1cnsLxB75RyEYDsmxnQnKMe5G6qqEaEnOtZm4HtHTr0p51Tj/WZlRiSQtbCCQu0s6tSDeylTQ+lM/tGTCNTC/8W9qvzhDv3yi/NmlymrimpQ+XWzw994M7jeHksQmZIs5KPTTBg8MotXEcV8u4MbU2NJ60k7CYIKgwoPZ5jnv/mbKcwkHJaoigPbEroUYAm7D30EgQSWFegek29FOQSfOM7fNtFGw1tp0xMpABgAoRd2F2U8IzDnVs0AwuuTl2oAWzj88NynvbgXX2N0Effvxc/c4fVs+FZSjKsx8k7Snx7lpPct+JTGmg2kYp7hxlxX4IzINzAhQd9Aqy4rCyuORFrWm4znavk6zCbamE4sx5AnE4ye456QfvRxvQJ48Cs+3uXC+mZO30+C0xUxECKt/TX/RdX31A5Qj+RBvnYi5NWD2XCrP+jDI8cHIofoBu7htw3zW71RnzW1p0SSpsakEr90X9Ne+WwiOgr3yw3hTPRLdIPmtF2fUMxjjhp38cLhk83HZl657ag8Tty7q0YjuF/JBVx+4WFfGczohqc39pm57XfBFHRSAl7rUBLmI2xt/qo/QDvpQCT7jtNhvyOsZaaoqbeQq42owTiCXsvUMDAOzJcqxzO7Hju0WjhNIsqNHWitHh/OnLib5wMNjXDrsQ/f3owPMDybgiLIIJbJr9xRk1XElarifvZ+WRfr7ZFsh1a8k+s8hN9YKNCi+Cj5B45ldoHe0FYnUjsynoLb8yeUICgkymNvPgqpbo9oXCynvA5xjo3erxNZLF/3tnY/+brc5Fb+EVTJ96Myh3rVJQnM1/JUWjRN1brTvahFNflkmVop/mGTSml0YVRZin9N9w/aT+VUkOqnevqNVKGswNCOVMelK9g0Sn0TScOoThU2rCasPI22FqjzdrOG6J1hY+aI4q7wP0g21qHTiWCPPfOjSZ1WzZ+zjzjJdDoiWGVMHMD/ODD0jcQxduR/0/NPwuRW8eKCj25ljj3QllKhmN/CeuT1wcq4oy0s34Zu/H48T7olJFIibE+PY3S2dp8tEe32YVsUTx9cQxKO7Q+exBY20+LAHwqJwsgPfjDC9AUFHEU7G5dXULnffAp9KkgVCeBik0EJJ63CjeKRCgVhDwxgZnEkNOqFSa7JD38NEdWFAQrdnE38wvSxF0z98UV8UF8Q0JC5KVpLjjdhp1e6rbpoGx9kSf4hIrGof5agkMZxdUsxBi1yV66MKTcI7gT/zNSBHWfNxyrZcJEmxxZWAiss1QWnjPJmr+TSgPqo/4oXcTktQU3L+clsegLx1Pl1hyaJpQAR8qQS/Ujemw2B0yjTksSsanuA3rhw/Y5sHp6DRjVFrIqUs/x5A53zi+/nbNJCp7i9OSOb4kHhMkwSkFI6Qe+jEcVka8C9/wu0U5fW4qzLnQmgqJSqkdAa96J0D6RYEawCxSSS922JzPfoByx9M85k+bDKPCIN2cTrMdSQf4a2jrDOoVncYNvsdHbleUo0Wxp9bR/DPJKmhQFd8WF7Z/gCvk1BuPbxW76cRu6+415SqzW1vS3syMm6bw0C5EFcnFCZ9xK5RPThlLkbh4mqHq3pITvEOD9DziXFiMwJBOAWQ+gjyEnwHVvFs/ff3geXYfEgWXFjpzHWoCZ5FvcrhJtvfsePxjrxeej915AL4w0LJpd8LWI4y4OUe+FWk3hKvQ/0ys9G4p0YE2B9NutIrt4vfZ2Jzg2x4iehEOor2Q0BsRYejD+AmoWszfn5tBR+Kbi5jpOBw7vIP7X9vGe4AbN5M+72VnFX5Dil0/liR8UwmRG1kJfJValD9csOX3aiB+ejEIE9UakhvtGsG/qzsX/FDb88HjWZBM4k/jnI6GBBIK4wbt+mgXrSN+MAEqvLRA39Qb1Hm8qTEpPO3Kp5mrCweyTTjH9m09pIeLahucRWzW8VzEjm1BfUupSjAqDWdVGe59qELmMJKu+6Kfcu8CHuiwTB+6kyQ8dZbzhX3Sq2SFwqG1IecaFfG/p6dhA3sgyb6B8cek6F/LiiwFki3qVCh+/JFtyDAgb60GXzC41pW2KOcnsuqwrTncUN6+ZwejzhpJmzWAGMyMnoph2cIUChbg5OnqnjVfZWXuvApze+wRWUBNuIks9QrJ8RqqeeXXCuL2jXTRuX2VMAseqs8ogi3HK1r274G5dM2cDTmwyIkBbMcfQyTjDM8gcZyR3ZdPvQ7HsU/P1WdNzsLFNFdbvQEpRbKXy43m1gM2gWNHW2i9VZIgtcKWC+JJGNmX44rHrtwiqmyxhgVONakDm6s2ev1ugAMc8A9s/NA1YIGmZPIzj3reeA1QKYTAp8pYtadJ5Q7+VzERqpTct3mYmsBQPi4aAiDe5EUjurJ2drtKpxm9O6aZkkR1A7WzBG4zSm2wSCcsyNdrGUFESlyAps55zmlQbXVJK0ypAV4S+VrCdyGW1NS4YCCko1tRz6ZI7RzEOtT1tXFsCZv4LChi7dxupiMZUwVVvgI1jwNJA2NlsljCl1MOYe1EvpmhlZ6HWn39YTkTz2Rs4UDJ1Z1jLMi/Wu4FtIDiFqeuo/7ueGuK4ZomPvTnj/uBWbj/4n7cD94HInBqxnSvPWb1gZWza4UiSboaCgqPlyRSqWEd/29hY9tRSVYLeRiZI9I2z/xcABJ5+b0KtXrdvRkmgVvXfUpfp2265RdLlp7GBRpL8RScwGUft3UreMh7nMY8Txefd5UD4I/LJGzsMX/cYKStd4ikDvz6ji4h4KD65CJ77G6QAkx7HvgGc5DAFYhO/zJc4r8NLsSjN//HeAQQ4LOp4z9smFd5s8/yOSkvq9Qww0a+Yazs/8njYvjt4qoAL5yjKi7vlIKHtERAIVG8trpQBIednCkz4mbnysxkLGcZzDSWbkMW/ekH2h/gvcwnAPdxkA0Lky+w0VU/ViU7ugnyzcfpRBKePsQEwv4iSQzJn2m2b43jTr6lbutMi6xSgZROjqWxR8NABA847iPgXyZUu0+CpLAquodqJAa9QawugczICFRL70YzyG68VD0f8jcZPe3cOybdCyZLMD75N1+Yshfz6Ntq1NKnsGyVU5uDes2GYNa8IQJOPyL3NCHREI8c/cDaN146/y8hsb10/q1H++RBqPoCFZXoN7qSEJhg7qICsew0SCKgPDSyP4e5EGx5OdGrBdSbjL5Mwv0XYbvFSxXHe9z1cpYXrn1VGhBAnhvcwouYegqpl/Rs1e4vkMPZU4d2KCPJEz3wgvJ7zG488jg6WO6Z5WtdNMAj6rsvwtMSuZh5lv1VrOQYskfSrwBiNVtNmEsBhM9erW6QVs8jmQheoo5kEZRQvpH8tefVj2oShsl/PFeiRlWLw6vothGQF9Jg3lYlDg8v5sDo8O2KjHv6377dLNAUAqZ4AHL0YBQU/pBXIgXcKR9PK+PkHNC6yZDkEI4LqV+IH6GwYRfpXhBc+mZ1ghz0fxSXlXY2SH1wy+gendKEQhJh+9hB7tpqueV/PhiAffFOKWDs6Mtw32pYbXtyjZ0/URoZlwkdAZdqA5WRy+6q6XfsMe9FW7Xz5EG95l8FMN0+ccO3RHJSY/pfaDGq+EZzSpiEyC6VHKBe7DeWjb1j819FSlrabZXG1fqaOEgkWkwvrx/RjCuMnrd0S6fPlzxLJDTcfsveo5UF1Lz4TmX0ThDEwZf3lc1COnK8iXNBDN4Hwg8pOQvf8UmqfMN5es6wzWWdAY7Jb5rW2qiNwrvaYVSsr2zsELLheHXS3w0f5o6gUQeeXQsHxjattCBWSatmoOA5Buzz9utISS3ZZc2HmzsI+35ZSkGxPI17gZz92smge0rAKKESn52Vex9mr5kbFarpQYlnjaW0G+0i/6vdt4DBIcgYvYDFkVXvorj2mUYVPKyzKkSg39u4RBBKOj4EmfHna/WaI6sp4sk6RA3rghWSvaV2ioYsDssE0y0qX2sjKQPGP1skKIDLCpHKBj6pJdmtHsfzcVKOOu5WXzN9Tmkrvh65I4vD+bBaNOaUCfH4AITGRooopvohhC5yk4IM+mTTGB6iUL95x5/E9gnXT2IrCNxRvv5t1QVsQhvRk8UZOJD0Nsklp/QjktbXdb6dPkg3gpWj8dd0WVNVk+h6zThd+xfpKZj12gavSTBYAxCn4ypfbTcNB8W+tLYmVKepipS/NIBrlnoVvUisru6ycDU7jsqj5LmJDHHX3OJjBpnb9tdQ5Yss939bftAw729Z0wp7rm0krZNybcKHodsoddnffh4FAMMmWlUUXBo63SxhKoC5/piGDVxbfaEyCGHnQK3XmcOZ/p3jMftrCPETInxyGTPOHmXdzNzx/rLSKFqbSG+E7J/bn6Eo//SrgtPdjTXxVxRf5aREcXtjEsRypUE1h3WBWyhHFN+al8zQTvcvrlfkMk3vwrZ+8DGKjrTyEAhKr2bPPyudK9XXV+EYt0QJ2WCFx0yoqt21RWIYkLB7JmBx/e59buuKV5TL27yEZQ1bVFw029FYPOj+DNXgLfeEifj5/PwSzirQZqgiC3iNflfh3HldHzU4fSYf09dYxumI2nlK/zAhFiVpR8RIcxc7UxXEropBtYnfqPNYqkaxwZZdXiZj4xlCr5yeTR3b7ermIH3f4PY2Pt112mEtHBysV7q8q/O50B8Fq33D3IM93nAXqzZBtMKAmo6gM2dWCgHiWaycuSQ59tdEI3MoS/Lq3iUAXG6xDMJS1sAHaAYAmcnMYDbVzJuAXUtQg+LcVaatlKWt4Td1OAUu7ryzEMs1navfAKnNwm75YIxZccK/SKP7OG3c+jlvsOkhA2er/PqPLrQjqaPOEOPWSF+qak73My+JhIDJCAu4c1AGNLAPk+E5KwTQtDaZO0ncwy17zhkoHV4JDcswTbvFaTfwXrlNz3gIvHazMkJz3Wvp2YZN7W6WSsHMl5eA6EOa1ytWy56Z1ExQ0EUwLMBT0oGNFO26r11BAY5nOPYleJ9MyqMAuxiy9xSoV78fZ7i1HjdH4exo505mrzFUE4II3u+Fsfw499obypXkt+37iAPMWM3bXDFGlhKOjPFR5U3LWQz+UbHfQsyhMVpT7otKJ3CnJ29fuW+RfVkOcBIeW9NQ3YhrPg3M5Qf/ujt6piqKxU8gyvqCF5/jicrV4+JcSUnI8j03QTBZOAgZAs/LMZ4DFETo+GKbB5PdGVrTM+a2CeDrW4v6qiXfNSU+yrruPRI0u0U6Nl9UWm+3VuATcyCzLgXmJl348FtqfvOYu7tPYhEGr88CRW0fHlV507Qq+vMdhH37gymDjl5lJlj7QoQFE8nI1QAlEtXgShEVAoKZtBeBN/emYAKsNVEe5IBta1Rbi/JHCOtMszbovUhus8XrJfXJpYLLEisOs3zBHAIt673acHYVnxy6nkQeWRHoBPM1AZVy9o5ZP885eDVO1QIYzsLLUahdqi35dJbVIJh7dCNr6JRRxImZ+99tA8tsYEtp+DqDZpdWUoq7wFEuIy3kncxBwJkk/LKxD+d4Rpy11JIwhCFKdy9BCwiSyfnlw0xnjQBERC7FPs1cgTE9RenWDDqQeNxow3IcJ5COmER/3SdklZCi7UBI3MTMePY4DJLGOB6Kz1d8INtPOD7vLkUqzhLtOfhkCUgbYPLXP2HrdzgOu08vvVjGxApKVCHhixrNHJNKKIDOZleyiz5R8yt2vGMdwebDOJIKQbL1JSnWEkHj73ZD+W98cP1JOf+qEe1k2OWgtU2QXWEaPW6VrRcd2GkQQprTUiDEn56QkTfDwouVESD/VeFFX8CHrD0IWxgy9llkOqCNlrc1CtaIxOdxV5BlRXymsgjgCLvuNM9qcxObZzcnBYg08doNGLtCz0z1y3lGrQyw8KQSW+KG/gqEJsPStK0IXWzT+BANRTGDktLJaCoop8qkZAxceDy0PjPQIgbIfrk0ieL1Am4IMa22Y5t1zBzGFsorzuGxFlcCnZKT2bqpNGoDIl+fNipbM5Fs5Douof2TmQ1Mv05ge5+VyDc5+85l+q/zFY7LNXGWxMkZmrH+HQpZxOFx+d14BdLzcxCz1TRbCd6mVUcrmbHSrffEgRIP/jwxvBKyyVP5XL0Y7o40FBrT3dozBFfOCfvFXeoU2PYsjCcMHl3bLrl9GlTqfGe1w7tt2pQVdaZR2YW0eD0FsntJe3RGxJ5hmPbowDbLHd/DHpHdCfFmuMG4H1AR1hl6nzt9btdgzSjWEPVrrUL52TfHsgIQ6E+OZJMXZ5duJTE56BAbLuyirNkGx38/KtVyOO5vYHSBIWIp1JkxY8kX69FLUve7mftQ5jKNzZ8Nvv+ayACFmWr6fW6iCwhtCIT3eOOgH36TUhpIzceOoCTm0PpKavNEOoPhZZUwCRmbwsqkb/onNZDs+Yxc6ZXW/dSWP8oTLRA/Ime/O+scx3Yq0MhSW1NZNBnAyUiHEk3xEZzkZN3tQz+34hAobKKoVUJRHIhgUr+yAfS/L71hq88TglNdlvpxfXzcEpBD0Bwkgr0k1c2EZYZLiw6YgkIOFMc0x0PNDBCdfoAUJQJ++HSRvLDjRxZ7MSjKtIedohkvbT76C9tEwbXiYQmRiPWILtUaOEr9dyIMTQTtNUvD/sZkgxojGwX2go83QgnixONsth7FVTsSFOiT8TjXwo5kyd9qH755QKl9srfYM3NsKbAWujEmlyZEmzNxN/advP2LOOWtKE8LlqBKYpbJR4qBn2Jo5S2tNSc1gq6In+bE+4+OE8teaO+d2XKyai8MUjJgVLO4+YO0C/uQJ+iwBPhD5DSS6dLB5eQhLuejnaE8zja5s/JcIfLGE7oHdUxrA2D39UnrCOQQ2fF2jpK2WosqtVj0QtZtponRRFRugEwpSHU4GEFrq2wIIl9l0d0+UJKRtk2kSFW4EPO34EVQG+mpDUqBr09IQgnenY4A9bkpptC7g7RmeFLXlTNTDB/UB/txBH4wTJSVpA1YwtqEYoNPHAKW6zqO/YTRF9NvvNFS9a/0cMG9fF1rTy2gVj6g0jOkE+4TrZhJoaAEeMrjyk+hnl7GPTv3o4DaV75vBRLc4n/Kx+PkZg0irDMF/KVMs/lTCChQD9fPjkTTE9pCVGpMRNhdzAugiV6ihRuwlH6Xfusxhq8kxajhJOnnosCU77XZlZrkoSSAg05mci4OTskbDjWv5DzSBHJd621QTa3/oKrQJ/UrktlsUQjsBMMvjGT0LCK058YXuRMNJbe6lqloYv8xRf8Eab0CLa4wlrSpwka5pj5WqBl0hariQeDKqHUil04Sspc2rcRmuRWw0Md37bwh+ZShesi7S5khb2UwAq2/zLpP945mHNHemE46u7xnbZ9SuiPBnWYR37/vEpLACMu8DXve7xSNx+FvTGD9jcHsO3A3JUrm3+Zz2Yh9/BBx7iwm4t3RsXHBXXe2bClbqWK1/ii5/Qfj2U+50LPjIW1JMXDdJiMfnhhF4AHvQjjWBqaRbwY4/3/Jge8poBtcbGIa4lCJ2bbkQmsMGoA1+xZxs94ZCtRmxITb383USBzoTOWnpIBMGJBs6FdwkfWkGkl5q2oCq/7ng4vjUdscEcrqO+isf0ZIIZPX5KhKQ3n4KOhr5jFNXodrefV0I41xXsf2FYTZfdhSE1q51o+t/u4gRF+EhzZHASE1bPmJ+U1SXmi+O2kCoHyzY1BQGvFSMPT0l+TWNqmccE/vV2TuAR1xDGjui5FzcNuhcEwVikrv20UXnsufeI00cNbeDzPpVjeJVTYjfptkPXy/ZgYuAdNl5K1QfCMKNrW4JmBrUbpnD+dQI2XQQdIqP3kTrl8H2yUJhrOHi+XDZVx5/XW1jWuvl+uQ5bfXsb+8L3GikWQsTsglXzlxHgeuh8+YSG5z/h1/iEJROib8Pv9GgT5qd80taOPD5nIFqhv6n2zw83nk6yRw5EyMMkFVYYFYn3D/ZpvhH/dCp4Y6o/k5whVtByFFd5j+I5LoWaJIV2oe01zKvv5YpyVxSDa9128f91tIZ8jbngQBJECzbvpby0Ahysclw4eELPabwgl5WcQxGPbDqwe7tIdaeUm3R/oZ92MIcTZy2C87w5R8JWyEKzvLRnDHE7zxyXlxbZ364Ye4wcbQ5zQl1TNHY1Bq2xge56yn9xwreeR683/IR1F/fd0QsSwPP4UGrC6gmH7lHu+vUmg7MN9BqAxglarfJ7ccTWdl45J4JVxXYT+CqmeMiSUmNOjsh9BGgxs14NbT4rGsJ8u9+OJvh15vyHBECWsuUfDqZcs3Y0MxdBTVfQ49CB+ystMEQ1i90jcHsc6woXHf1QjVOsKJoS48Zrra/X7ulJmXw7udmpKdMN+Uybzjcg5js3jORuhTYNifMr9tVdE8K8TXO0Uh2CydjfRtYyzT16NOtNhI2do1tf6YWeZDazgaaizG8QhW0vYHB64KfFog7Rzb+vCEGignHa8Q3LZFcLeie62XYXoPrPd6bIib3dWIKp9mrwe5yht7USne+R2C6GTN1wGH84bbXrpvcjzE/y5kS55Hn5aRvPZoOjiKbv0oyMxQpmndeSF2Cy6X0qN6pFCSV4Q2IZf9yciAZSfYkKjwOq4sucOeSeNTOmpGEr4+pWDp2BmACiEIfHiHzsyHXNbGQ2omBbljvi0VDQfogBYOiiAQPLdLAohbr1s5eHdyCP7ZZLDYNyqKtl9Sh0g2ir84onSoGNAkqboaVKsNoA7K9yuzzlgk3C+UAsAyel9OIIFpQqMob0diFrqBCsiUzN7qRWGkeQvwNKrmXZNC7lqHO+gG8x3jpKgOg8A8yG9L4wibtfhkVLd7ztxURBHKwGdFAkV0McKcOD3yp/jBM6bSg4wnRtNrdLU+YySTHPTiq3zZbccPN3+KzSZNLSLuARQ/CUq+9KIkABkdcaj45PE5RUp8uIuvHIK4/MSnOuQaG7aa7NwZNSgnAAN/e5+MwAc9FG7iE8yRxDwO1xZMlcRO2xbZ9PBkVHOVOJFnVGzYuO8QNrbfGmy7nDebctlS7hfE/CVbcPiUyqKIQqLN5EIrBajYlAb+uid647JIXU6uxnbCTpSXV6Q6+eqh41e1NV53WQ4Xdu76G1jKmEmp6Ug+wgKGbKqn7zLjQwmjLTN5Tveva0h1/4QDkhIOEIYpo4wdj6aBb0vgG/sq8lVVoOWngW2RFzbU5KcKZMA6wbYuwK8RJsAjKolmRIL5SfBR0/zQAzk60lD2eBr8HEU6R+AtK2MLT4rFex75MBND1NcKHPHkh+Pi04c+nbYYIIwOqGby4LMmIko2liMhKz1pf556tJ3aRRw82qFZf6C92vOzC9qk0kSamzJ/DsOqNZNb2BXPK4/DUJYKlUDqUFfnVxjOFPWoAD6tU5FFL5ZLQTY0mBXXxOnWDo3Wj55WVGlxkSlL5kCsmG0XaIaKlIU/5CxgWHmFQZYyQz4lLlmtR8j7PhgPFxyHEEzYQ1YbCPAaoWoTiL3XCOg/EP1+L17zToXoK4jO2gJ9dNjHPSCrYnKhcNUVBU+09RmH5QIH9329YWv8JjaXQiwN+V+xM5tN9cAj86/4szYEIyXCbf/5uyIbehTh68NNuV46Dn7a3fQ2njyDT+sJZMCvyDMcy7YbGjiJ8YQnyZ9StE+KSH20tB/evEdsdqnlZVod8lpW7AMG6vRABaQfieXGDAtwaeFaYAPl4e27KkWBJ1E6fkrMqVjV/ncKuoDGUiyBA9UzB6xi4BnMWDCIzajvxFwPlJrM/uVQHKJxLzeicr0Nf4Tw76jz0qyomyDr/vJn+AQrIOkXwrK/6/VeCdq+dwrD3oQvJafNfL9vlvMpYZ1Y6KhBCH/ZvkHzLOAn1ie4h9TXUqvFOO6tYyuXQQ63i+9sHcH6Tg53JZv1q7OqfBXpOQjRKyOvqvWHajlvRj3OcCpvfXDCugPvWA5mE3PYM64SgQrSqwsRqf6Y1blhzkHER6+YU5F35UEyjHtlJWcSVfYih623wtGrEh/Vyn7XwHBWbg10LveJVzMNB2OMm1EXbjuTd+iM1DqCwFsD/PXIDdO88TopBhv/FhmQiDcHD5YRE7cEvhmsnHI+HUdaTZgLPey1avQvTOxG1zRenUxhxe9XuAkuIiQ263UKHOAzFS7yLNGzXI5InsCoKdTlGQAW+hXFco3sBGci4ret0Tko1hnDAPcZJeSCSa1dqcADbc0aGWB/bgsg54TWTCa0TuJBbVdnvUyqJVv3jHs9ESb6JgZZwyeFXFJTwKVs2wJK6V/eRg1fGwdwdRzroSVNm+VWkLY2Mj2oZ/SIYhtbnKXmMNfjmQYSkF70K7K1cDnSWD0XtgxjPruqV9HUW/3gDr6OWFScMX0uK7Q/NGM5klRQVTij1sS/UIWDlKKkM5XvfdJVA+nUtdC4GYeUy4xI0Di0xdTfwZij77WGedMGsjRrdOS0jtZqt5uCYigfwww4ZwGN5X+zGrs8+aZoQXnp/M+1UKkp9uRBkZTDmkt7WLgUZOCiDpGjp+IYVhQ0AxLkkRjy5w6BYA6XGw3x6cME1Io="/>
  <p:tag name="MEKKOEXCEL8" val="False"/>
  <p:tag name="MEKKOEXCEL7" val="False"/>
  <p:tag name="MEKKOEXCEL6" val="False"/>
  <p:tag name="MEKKOSAVED" val="1"/>
  <p:tag name="MEKKO" val="MekkoChart"/>
  <p:tag name="MEKKOCHARTIMAGE" val="FILL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kko Graphics Presentation Template.pptx" id="{F784860D-932B-4C5D-A645-0E3B722ADAC2}" vid="{6332FCFF-3B5C-4C62-99D0-81A6FDC7EDC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1DCE0D0F7A384EA39729B3C3E1E592" ma:contentTypeVersion="14" ma:contentTypeDescription="Create a new document." ma:contentTypeScope="" ma:versionID="180581356742710d465aed7352eee3a4">
  <xsd:schema xmlns:xsd="http://www.w3.org/2001/XMLSchema" xmlns:xs="http://www.w3.org/2001/XMLSchema" xmlns:p="http://schemas.microsoft.com/office/2006/metadata/properties" xmlns:ns3="f252f0d0-fd33-4d0c-9344-d2a950077a40" xmlns:ns4="d92eb20f-d023-481b-a813-16a2e3438f72" targetNamespace="http://schemas.microsoft.com/office/2006/metadata/properties" ma:root="true" ma:fieldsID="f6e563eebc2939ae06c97e2ce6c2270b" ns3:_="" ns4:_="">
    <xsd:import namespace="f252f0d0-fd33-4d0c-9344-d2a950077a40"/>
    <xsd:import namespace="d92eb20f-d023-481b-a813-16a2e3438f72"/>
    <xsd:element name="properties">
      <xsd:complexType>
        <xsd:sequence>
          <xsd:element name="documentManagement">
            <xsd:complexType>
              <xsd:all>
                <xsd:element ref="ns3:MigrationWizId" minOccurs="0"/>
                <xsd:element ref="ns3:MigrationWizIdPermissions" minOccurs="0"/>
                <xsd:element ref="ns3:MigrationWizIdPermissionLevels" minOccurs="0"/>
                <xsd:element ref="ns3:MigrationWizIdDocumentLibraryPermissions" minOccurs="0"/>
                <xsd:element ref="ns3:MigrationWizIdSecurityGroup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52f0d0-fd33-4d0c-9344-d2a950077a40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internalName="MigrationWizIdSecurityGroups">
      <xsd:simpleType>
        <xsd:restriction base="dms:Text"/>
      </xsd:simpleType>
    </xsd:element>
    <xsd:element name="MediaServiceMetadata" ma:index="1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2eb20f-d023-481b-a813-16a2e3438f7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 xmlns="f252f0d0-fd33-4d0c-9344-d2a950077a40" xsi:nil="true"/>
    <MigrationWizIdPermissionLevels xmlns="f252f0d0-fd33-4d0c-9344-d2a950077a40" xsi:nil="true"/>
    <MigrationWizIdDocumentLibraryPermissions xmlns="f252f0d0-fd33-4d0c-9344-d2a950077a40" xsi:nil="true"/>
    <MigrationWizIdSecurityGroups xmlns="f252f0d0-fd33-4d0c-9344-d2a950077a40" xsi:nil="true"/>
    <MigrationWizIdPermissions xmlns="f252f0d0-fd33-4d0c-9344-d2a950077a40" xsi:nil="true"/>
  </documentManagement>
</p:properties>
</file>

<file path=customXml/itemProps1.xml><?xml version="1.0" encoding="utf-8"?>
<ds:datastoreItem xmlns:ds="http://schemas.openxmlformats.org/officeDocument/2006/customXml" ds:itemID="{30623935-4B6C-4215-946F-D38F3B3E2DC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52f0d0-fd33-4d0c-9344-d2a950077a40"/>
    <ds:schemaRef ds:uri="d92eb20f-d023-481b-a813-16a2e3438f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3CAC9-946D-443F-93FD-8125348F17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C938A6D-6F5A-42A5-98C0-B80A54977D40}">
  <ds:schemaRefs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purl.org/dc/terms/"/>
    <ds:schemaRef ds:uri="f252f0d0-fd33-4d0c-9344-d2a950077a40"/>
    <ds:schemaRef ds:uri="http://www.w3.org/XML/1998/namespace"/>
    <ds:schemaRef ds:uri="http://purl.org/dc/dcmitype/"/>
    <ds:schemaRef ds:uri="http://schemas.microsoft.com/office/infopath/2007/PartnerControls"/>
    <ds:schemaRef ds:uri="d92eb20f-d023-481b-a813-16a2e3438f72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6322</TotalTime>
  <Words>54</Words>
  <Application>Microsoft Office PowerPoint</Application>
  <PresentationFormat>On-screen Show (4:3)</PresentationFormat>
  <Paragraphs>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entury Gothic</vt:lpstr>
      <vt:lpstr>Clarity</vt:lpstr>
      <vt:lpstr>Racial Wealth Gap in the US</vt:lpstr>
    </vt:vector>
  </TitlesOfParts>
  <Company>Mekko Graphi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Goldstein</dc:creator>
  <cp:lastModifiedBy>David Goldstein</cp:lastModifiedBy>
  <cp:revision>281</cp:revision>
  <cp:lastPrinted>2019-04-10T18:52:28Z</cp:lastPrinted>
  <dcterms:created xsi:type="dcterms:W3CDTF">2014-11-08T22:34:19Z</dcterms:created>
  <dcterms:modified xsi:type="dcterms:W3CDTF">2020-06-17T20:5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1DCE0D0F7A384EA39729B3C3E1E592</vt:lpwstr>
  </property>
</Properties>
</file>